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notesSlides/notesSlide3.xml" ContentType="application/vnd.openxmlformats-officedocument.presentationml.notesSlide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4.xml" ContentType="application/vnd.openxmlformats-officedocument.presentationml.notesSlide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1"/>
  </p:notesMasterIdLst>
  <p:sldIdLst>
    <p:sldId id="307" r:id="rId3"/>
    <p:sldId id="308" r:id="rId4"/>
    <p:sldId id="258" r:id="rId5"/>
    <p:sldId id="330" r:id="rId6"/>
    <p:sldId id="321" r:id="rId7"/>
    <p:sldId id="301" r:id="rId8"/>
    <p:sldId id="275" r:id="rId9"/>
    <p:sldId id="306" r:id="rId10"/>
    <p:sldId id="320" r:id="rId11"/>
    <p:sldId id="328" r:id="rId12"/>
    <p:sldId id="329" r:id="rId13"/>
    <p:sldId id="267" r:id="rId14"/>
    <p:sldId id="278" r:id="rId15"/>
    <p:sldId id="309" r:id="rId16"/>
    <p:sldId id="322" r:id="rId17"/>
    <p:sldId id="323" r:id="rId18"/>
    <p:sldId id="325" r:id="rId19"/>
    <p:sldId id="318" r:id="rId2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4660"/>
  </p:normalViewPr>
  <p:slideViewPr>
    <p:cSldViewPr>
      <p:cViewPr varScale="1">
        <p:scale>
          <a:sx n="70" d="100"/>
          <a:sy n="70" d="100"/>
        </p:scale>
        <p:origin x="852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iagrams/_rels/data20.xml.rels><?xml version="1.0" encoding="UTF-8" standalone="yes"?>
<Relationships xmlns="http://schemas.openxmlformats.org/package/2006/relationships"><Relationship Id="rId1" Type="http://schemas.openxmlformats.org/officeDocument/2006/relationships/hyperlink" Target="http://ilearnuniversity.com/" TargetMode="External"/></Relationships>
</file>

<file path=ppt/diagrams/_rels/drawing20.xml.rels><?xml version="1.0" encoding="UTF-8" standalone="yes"?>
<Relationships xmlns="http://schemas.openxmlformats.org/package/2006/relationships"><Relationship Id="rId1" Type="http://schemas.openxmlformats.org/officeDocument/2006/relationships/hyperlink" Target="http://ilearnuniversity.com/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F93AD6-D92B-4930-BC62-688523455D5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941126ED-F052-49B3-8695-D9464DB1C443}">
      <dgm:prSet/>
      <dgm:spPr/>
      <dgm:t>
        <a:bodyPr/>
        <a:lstStyle/>
        <a:p>
          <a:pPr rtl="0"/>
          <a:r>
            <a:rPr lang="en-US" dirty="0" smtClean="0"/>
            <a:t>EMPLOYEE ID</a:t>
          </a:r>
          <a:endParaRPr lang="en-US" dirty="0"/>
        </a:p>
      </dgm:t>
    </dgm:pt>
    <dgm:pt modelId="{A7A84D5C-6A30-4929-8B01-273AFD77B8D4}" type="parTrans" cxnId="{B7BEA214-0408-4B78-9320-A2792D87A575}">
      <dgm:prSet/>
      <dgm:spPr/>
      <dgm:t>
        <a:bodyPr/>
        <a:lstStyle/>
        <a:p>
          <a:endParaRPr lang="en-US"/>
        </a:p>
      </dgm:t>
    </dgm:pt>
    <dgm:pt modelId="{B62175D5-BE13-4383-B213-5F9519627858}" type="sibTrans" cxnId="{B7BEA214-0408-4B78-9320-A2792D87A575}">
      <dgm:prSet/>
      <dgm:spPr/>
      <dgm:t>
        <a:bodyPr/>
        <a:lstStyle/>
        <a:p>
          <a:endParaRPr lang="en-US"/>
        </a:p>
      </dgm:t>
    </dgm:pt>
    <dgm:pt modelId="{43C46175-0747-4A21-8389-4B2453117388}" type="pres">
      <dgm:prSet presAssocID="{B7F93AD6-D92B-4930-BC62-688523455D55}" presName="linear" presStyleCnt="0">
        <dgm:presLayoutVars>
          <dgm:animLvl val="lvl"/>
          <dgm:resizeHandles val="exact"/>
        </dgm:presLayoutVars>
      </dgm:prSet>
      <dgm:spPr/>
    </dgm:pt>
    <dgm:pt modelId="{B03F6000-42DA-471E-B957-35EACC5DAB6E}" type="pres">
      <dgm:prSet presAssocID="{941126ED-F052-49B3-8695-D9464DB1C443}" presName="parentText" presStyleLbl="node1" presStyleIdx="0" presStyleCnt="1" custLinFactNeighborY="-23314">
        <dgm:presLayoutVars>
          <dgm:chMax val="0"/>
          <dgm:bulletEnabled val="1"/>
        </dgm:presLayoutVars>
      </dgm:prSet>
      <dgm:spPr/>
    </dgm:pt>
  </dgm:ptLst>
  <dgm:cxnLst>
    <dgm:cxn modelId="{EBA821FB-8C3C-498F-BD54-059FD168BD87}" type="presOf" srcId="{941126ED-F052-49B3-8695-D9464DB1C443}" destId="{B03F6000-42DA-471E-B957-35EACC5DAB6E}" srcOrd="0" destOrd="0" presId="urn:microsoft.com/office/officeart/2005/8/layout/vList2"/>
    <dgm:cxn modelId="{EB7941B7-9FB9-4ED8-95D3-476DB9024426}" type="presOf" srcId="{B7F93AD6-D92B-4930-BC62-688523455D55}" destId="{43C46175-0747-4A21-8389-4B2453117388}" srcOrd="0" destOrd="0" presId="urn:microsoft.com/office/officeart/2005/8/layout/vList2"/>
    <dgm:cxn modelId="{B7BEA214-0408-4B78-9320-A2792D87A575}" srcId="{B7F93AD6-D92B-4930-BC62-688523455D55}" destId="{941126ED-F052-49B3-8695-D9464DB1C443}" srcOrd="0" destOrd="0" parTransId="{A7A84D5C-6A30-4929-8B01-273AFD77B8D4}" sibTransId="{B62175D5-BE13-4383-B213-5F9519627858}"/>
    <dgm:cxn modelId="{750FE5CC-4BAF-4E81-91D0-83EC077DAB98}" type="presParOf" srcId="{43C46175-0747-4A21-8389-4B2453117388}" destId="{B03F6000-42DA-471E-B957-35EACC5DAB6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396E1E4C-E566-43EF-8275-2AEDC938ABB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6FB857ED-464A-4D58-87CB-77017A4AC990}">
      <dgm:prSet/>
      <dgm:spPr/>
      <dgm:t>
        <a:bodyPr/>
        <a:lstStyle/>
        <a:p>
          <a:pPr rtl="0"/>
          <a:r>
            <a:rPr lang="en-US" b="1" dirty="0" smtClean="0"/>
            <a:t>093949_IN</a:t>
          </a:r>
          <a:endParaRPr lang="en-US" dirty="0"/>
        </a:p>
      </dgm:t>
    </dgm:pt>
    <dgm:pt modelId="{10B7E71E-85AF-49C0-8A14-A644985BFD1E}" type="parTrans" cxnId="{5F03B336-EDCB-482A-B179-76F317858333}">
      <dgm:prSet/>
      <dgm:spPr/>
      <dgm:t>
        <a:bodyPr/>
        <a:lstStyle/>
        <a:p>
          <a:endParaRPr lang="en-US"/>
        </a:p>
      </dgm:t>
    </dgm:pt>
    <dgm:pt modelId="{9D22AB7A-C83A-4583-A689-90F3D1407769}" type="sibTrans" cxnId="{5F03B336-EDCB-482A-B179-76F317858333}">
      <dgm:prSet/>
      <dgm:spPr/>
      <dgm:t>
        <a:bodyPr/>
        <a:lstStyle/>
        <a:p>
          <a:endParaRPr lang="en-US"/>
        </a:p>
      </dgm:t>
    </dgm:pt>
    <dgm:pt modelId="{A784265F-6740-4DE9-BCCF-D4BCF004C687}" type="pres">
      <dgm:prSet presAssocID="{396E1E4C-E566-43EF-8275-2AEDC938ABBF}" presName="linear" presStyleCnt="0">
        <dgm:presLayoutVars>
          <dgm:animLvl val="lvl"/>
          <dgm:resizeHandles val="exact"/>
        </dgm:presLayoutVars>
      </dgm:prSet>
      <dgm:spPr/>
    </dgm:pt>
    <dgm:pt modelId="{C347E5C5-9353-439B-9A5C-E6A77C9F0492}" type="pres">
      <dgm:prSet presAssocID="{6FB857ED-464A-4D58-87CB-77017A4AC990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E61C7685-F00D-4D4D-B832-DBEB473D643C}" type="presOf" srcId="{396E1E4C-E566-43EF-8275-2AEDC938ABBF}" destId="{A784265F-6740-4DE9-BCCF-D4BCF004C687}" srcOrd="0" destOrd="0" presId="urn:microsoft.com/office/officeart/2005/8/layout/vList2"/>
    <dgm:cxn modelId="{5F03B336-EDCB-482A-B179-76F317858333}" srcId="{396E1E4C-E566-43EF-8275-2AEDC938ABBF}" destId="{6FB857ED-464A-4D58-87CB-77017A4AC990}" srcOrd="0" destOrd="0" parTransId="{10B7E71E-85AF-49C0-8A14-A644985BFD1E}" sibTransId="{9D22AB7A-C83A-4583-A689-90F3D1407769}"/>
    <dgm:cxn modelId="{53821B03-0580-41B6-8B76-9A1CD34C2462}" type="presOf" srcId="{6FB857ED-464A-4D58-87CB-77017A4AC990}" destId="{C347E5C5-9353-439B-9A5C-E6A77C9F0492}" srcOrd="0" destOrd="0" presId="urn:microsoft.com/office/officeart/2005/8/layout/vList2"/>
    <dgm:cxn modelId="{7B6DE104-8426-4E3B-AC99-602AC780BA86}" type="presParOf" srcId="{A784265F-6740-4DE9-BCCF-D4BCF004C687}" destId="{C347E5C5-9353-439B-9A5C-E6A77C9F049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7F62A8D-77EA-40D2-88C9-3A575334053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1679AF49-F8E2-4D58-9D33-73BC1DB03A45}">
      <dgm:prSet/>
      <dgm:spPr/>
      <dgm:t>
        <a:bodyPr/>
        <a:lstStyle/>
        <a:p>
          <a:pPr rtl="0"/>
          <a:r>
            <a:rPr lang="en-US" b="1" dirty="0" smtClean="0"/>
            <a:t>Ajaykumar R Yadav</a:t>
          </a:r>
          <a:endParaRPr lang="en-US" dirty="0"/>
        </a:p>
      </dgm:t>
    </dgm:pt>
    <dgm:pt modelId="{36A15C1D-3636-4C40-B0CC-7B09994FD561}" type="parTrans" cxnId="{5F013284-E010-4858-9914-940E67C38441}">
      <dgm:prSet/>
      <dgm:spPr/>
      <dgm:t>
        <a:bodyPr/>
        <a:lstStyle/>
        <a:p>
          <a:endParaRPr lang="en-US"/>
        </a:p>
      </dgm:t>
    </dgm:pt>
    <dgm:pt modelId="{A289AC2F-48D0-48DB-B53A-E365135A0BA9}" type="sibTrans" cxnId="{5F013284-E010-4858-9914-940E67C38441}">
      <dgm:prSet/>
      <dgm:spPr/>
      <dgm:t>
        <a:bodyPr/>
        <a:lstStyle/>
        <a:p>
          <a:endParaRPr lang="en-US"/>
        </a:p>
      </dgm:t>
    </dgm:pt>
    <dgm:pt modelId="{52297DA3-343F-4569-AE71-EF6462A678C7}" type="pres">
      <dgm:prSet presAssocID="{A7F62A8D-77EA-40D2-88C9-3A5753340537}" presName="linear" presStyleCnt="0">
        <dgm:presLayoutVars>
          <dgm:animLvl val="lvl"/>
          <dgm:resizeHandles val="exact"/>
        </dgm:presLayoutVars>
      </dgm:prSet>
      <dgm:spPr/>
    </dgm:pt>
    <dgm:pt modelId="{17536BB3-5728-484D-B52D-21FA43AA91D4}" type="pres">
      <dgm:prSet presAssocID="{1679AF49-F8E2-4D58-9D33-73BC1DB03A45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5F013284-E010-4858-9914-940E67C38441}" srcId="{A7F62A8D-77EA-40D2-88C9-3A5753340537}" destId="{1679AF49-F8E2-4D58-9D33-73BC1DB03A45}" srcOrd="0" destOrd="0" parTransId="{36A15C1D-3636-4C40-B0CC-7B09994FD561}" sibTransId="{A289AC2F-48D0-48DB-B53A-E365135A0BA9}"/>
    <dgm:cxn modelId="{156215A3-23E6-421D-9895-B15EDE8879EA}" type="presOf" srcId="{1679AF49-F8E2-4D58-9D33-73BC1DB03A45}" destId="{17536BB3-5728-484D-B52D-21FA43AA91D4}" srcOrd="0" destOrd="0" presId="urn:microsoft.com/office/officeart/2005/8/layout/vList2"/>
    <dgm:cxn modelId="{14893FB4-03A5-434A-8530-EE79B3966A50}" type="presOf" srcId="{A7F62A8D-77EA-40D2-88C9-3A5753340537}" destId="{52297DA3-343F-4569-AE71-EF6462A678C7}" srcOrd="0" destOrd="0" presId="urn:microsoft.com/office/officeart/2005/8/layout/vList2"/>
    <dgm:cxn modelId="{BFA097FB-FC1F-4380-86B1-CDF81F15EF60}" type="presParOf" srcId="{52297DA3-343F-4569-AE71-EF6462A678C7}" destId="{17536BB3-5728-484D-B52D-21FA43AA91D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C9423E8B-31A3-4020-86F2-02710727880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72B0EFB0-EAD4-436C-A8F7-6D86E16F9FEC}">
      <dgm:prSet/>
      <dgm:spPr/>
      <dgm:t>
        <a:bodyPr/>
        <a:lstStyle/>
        <a:p>
          <a:pPr rtl="0"/>
          <a:r>
            <a:rPr lang="en-US" b="1" dirty="0" smtClean="0"/>
            <a:t>Jabbar M A</a:t>
          </a:r>
          <a:endParaRPr lang="en-US" dirty="0"/>
        </a:p>
      </dgm:t>
    </dgm:pt>
    <dgm:pt modelId="{7A095609-8682-4F42-84E5-2C1FACAD9B91}" type="parTrans" cxnId="{EA5B1D33-D8D3-41F0-B1F2-51D179CDD0A4}">
      <dgm:prSet/>
      <dgm:spPr/>
      <dgm:t>
        <a:bodyPr/>
        <a:lstStyle/>
        <a:p>
          <a:endParaRPr lang="en-US"/>
        </a:p>
      </dgm:t>
    </dgm:pt>
    <dgm:pt modelId="{35A15428-2991-4E36-A578-F642A6489171}" type="sibTrans" cxnId="{EA5B1D33-D8D3-41F0-B1F2-51D179CDD0A4}">
      <dgm:prSet/>
      <dgm:spPr/>
      <dgm:t>
        <a:bodyPr/>
        <a:lstStyle/>
        <a:p>
          <a:endParaRPr lang="en-US"/>
        </a:p>
      </dgm:t>
    </dgm:pt>
    <dgm:pt modelId="{51AB0433-2506-4E9A-A512-AD7CDB36B085}" type="pres">
      <dgm:prSet presAssocID="{C9423E8B-31A3-4020-86F2-027107278806}" presName="linear" presStyleCnt="0">
        <dgm:presLayoutVars>
          <dgm:animLvl val="lvl"/>
          <dgm:resizeHandles val="exact"/>
        </dgm:presLayoutVars>
      </dgm:prSet>
      <dgm:spPr/>
    </dgm:pt>
    <dgm:pt modelId="{3CACF329-773A-4D94-87A1-116A85A546E8}" type="pres">
      <dgm:prSet presAssocID="{72B0EFB0-EAD4-436C-A8F7-6D86E16F9FEC}" presName="parentText" presStyleLbl="node1" presStyleIdx="0" presStyleCnt="1" custLinFactNeighborX="1037" custLinFactNeighborY="1077">
        <dgm:presLayoutVars>
          <dgm:chMax val="0"/>
          <dgm:bulletEnabled val="1"/>
        </dgm:presLayoutVars>
      </dgm:prSet>
      <dgm:spPr/>
    </dgm:pt>
  </dgm:ptLst>
  <dgm:cxnLst>
    <dgm:cxn modelId="{82E7EBC5-01CC-4730-B807-83F538C4F023}" type="presOf" srcId="{C9423E8B-31A3-4020-86F2-027107278806}" destId="{51AB0433-2506-4E9A-A512-AD7CDB36B085}" srcOrd="0" destOrd="0" presId="urn:microsoft.com/office/officeart/2005/8/layout/vList2"/>
    <dgm:cxn modelId="{EA5B1D33-D8D3-41F0-B1F2-51D179CDD0A4}" srcId="{C9423E8B-31A3-4020-86F2-027107278806}" destId="{72B0EFB0-EAD4-436C-A8F7-6D86E16F9FEC}" srcOrd="0" destOrd="0" parTransId="{7A095609-8682-4F42-84E5-2C1FACAD9B91}" sibTransId="{35A15428-2991-4E36-A578-F642A6489171}"/>
    <dgm:cxn modelId="{D811ABE6-7A69-4B5F-BD2E-2135D9D6AABF}" type="presOf" srcId="{72B0EFB0-EAD4-436C-A8F7-6D86E16F9FEC}" destId="{3CACF329-773A-4D94-87A1-116A85A546E8}" srcOrd="0" destOrd="0" presId="urn:microsoft.com/office/officeart/2005/8/layout/vList2"/>
    <dgm:cxn modelId="{8C7A0133-94A5-48A8-A0EB-1B8C1E375CD2}" type="presParOf" srcId="{51AB0433-2506-4E9A-A512-AD7CDB36B085}" destId="{3CACF329-773A-4D94-87A1-116A85A546E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8A7998E5-6008-4CAF-8125-BF3773B6EEB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A6ADB5CE-340A-4EB6-9C64-560C70386E11}">
      <dgm:prSet/>
      <dgm:spPr/>
      <dgm:t>
        <a:bodyPr/>
        <a:lstStyle/>
        <a:p>
          <a:pPr rtl="0"/>
          <a:r>
            <a:rPr lang="en-US" b="1" smtClean="0"/>
            <a:t>Kapil Dev S</a:t>
          </a:r>
          <a:endParaRPr lang="en-US"/>
        </a:p>
      </dgm:t>
    </dgm:pt>
    <dgm:pt modelId="{546E38C5-05E9-4872-9E49-C5EC97C1CB2D}" type="parTrans" cxnId="{1A81DCE9-28E4-45C7-94B9-EE24429581B2}">
      <dgm:prSet/>
      <dgm:spPr/>
      <dgm:t>
        <a:bodyPr/>
        <a:lstStyle/>
        <a:p>
          <a:endParaRPr lang="en-US"/>
        </a:p>
      </dgm:t>
    </dgm:pt>
    <dgm:pt modelId="{6579CA03-5A45-42E4-8BEB-3C5B52C7526E}" type="sibTrans" cxnId="{1A81DCE9-28E4-45C7-94B9-EE24429581B2}">
      <dgm:prSet/>
      <dgm:spPr/>
      <dgm:t>
        <a:bodyPr/>
        <a:lstStyle/>
        <a:p>
          <a:endParaRPr lang="en-US"/>
        </a:p>
      </dgm:t>
    </dgm:pt>
    <dgm:pt modelId="{52910DCE-D3CC-46BD-A16F-9A89C377F1AA}" type="pres">
      <dgm:prSet presAssocID="{8A7998E5-6008-4CAF-8125-BF3773B6EEBE}" presName="linear" presStyleCnt="0">
        <dgm:presLayoutVars>
          <dgm:animLvl val="lvl"/>
          <dgm:resizeHandles val="exact"/>
        </dgm:presLayoutVars>
      </dgm:prSet>
      <dgm:spPr/>
    </dgm:pt>
    <dgm:pt modelId="{0EECDCAE-5391-4605-A98F-6968A5B13BB2}" type="pres">
      <dgm:prSet presAssocID="{A6ADB5CE-340A-4EB6-9C64-560C70386E11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DFB64522-5879-42E7-A16B-FB3BA5F4CAB1}" type="presOf" srcId="{A6ADB5CE-340A-4EB6-9C64-560C70386E11}" destId="{0EECDCAE-5391-4605-A98F-6968A5B13BB2}" srcOrd="0" destOrd="0" presId="urn:microsoft.com/office/officeart/2005/8/layout/vList2"/>
    <dgm:cxn modelId="{6EA9058F-02DE-4E24-94AC-A703BA9D983F}" type="presOf" srcId="{8A7998E5-6008-4CAF-8125-BF3773B6EEBE}" destId="{52910DCE-D3CC-46BD-A16F-9A89C377F1AA}" srcOrd="0" destOrd="0" presId="urn:microsoft.com/office/officeart/2005/8/layout/vList2"/>
    <dgm:cxn modelId="{1A81DCE9-28E4-45C7-94B9-EE24429581B2}" srcId="{8A7998E5-6008-4CAF-8125-BF3773B6EEBE}" destId="{A6ADB5CE-340A-4EB6-9C64-560C70386E11}" srcOrd="0" destOrd="0" parTransId="{546E38C5-05E9-4872-9E49-C5EC97C1CB2D}" sibTransId="{6579CA03-5A45-42E4-8BEB-3C5B52C7526E}"/>
    <dgm:cxn modelId="{AA5F75AF-7ECE-416E-B546-3D1E50E815FD}" type="presParOf" srcId="{52910DCE-D3CC-46BD-A16F-9A89C377F1AA}" destId="{0EECDCAE-5391-4605-A98F-6968A5B13BB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638E25B3-42FC-4019-A4ED-422ADD023EE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06C7CFC9-3FD2-44A8-BF63-1C80F022AD19}">
      <dgm:prSet/>
      <dgm:spPr/>
      <dgm:t>
        <a:bodyPr/>
        <a:lstStyle/>
        <a:p>
          <a:pPr rtl="0"/>
          <a:r>
            <a:rPr lang="en-US" b="1" dirty="0" smtClean="0"/>
            <a:t>Lokanadha Sai Krishna K</a:t>
          </a:r>
          <a:endParaRPr lang="en-US" dirty="0"/>
        </a:p>
      </dgm:t>
    </dgm:pt>
    <dgm:pt modelId="{2A91E56A-4160-4181-90EB-8CF158A6BE2A}" type="parTrans" cxnId="{57BA4FE5-3781-4630-84CA-93F1F7098B9E}">
      <dgm:prSet/>
      <dgm:spPr/>
      <dgm:t>
        <a:bodyPr/>
        <a:lstStyle/>
        <a:p>
          <a:endParaRPr lang="en-US"/>
        </a:p>
      </dgm:t>
    </dgm:pt>
    <dgm:pt modelId="{01784162-8914-4082-8953-6FBD003A05B5}" type="sibTrans" cxnId="{57BA4FE5-3781-4630-84CA-93F1F7098B9E}">
      <dgm:prSet/>
      <dgm:spPr/>
      <dgm:t>
        <a:bodyPr/>
        <a:lstStyle/>
        <a:p>
          <a:endParaRPr lang="en-US"/>
        </a:p>
      </dgm:t>
    </dgm:pt>
    <dgm:pt modelId="{73EE669A-9CE5-4CFF-A404-F3DB46703F7A}" type="pres">
      <dgm:prSet presAssocID="{638E25B3-42FC-4019-A4ED-422ADD023EE0}" presName="linear" presStyleCnt="0">
        <dgm:presLayoutVars>
          <dgm:animLvl val="lvl"/>
          <dgm:resizeHandles val="exact"/>
        </dgm:presLayoutVars>
      </dgm:prSet>
      <dgm:spPr/>
    </dgm:pt>
    <dgm:pt modelId="{D5446B77-167A-44C5-810C-4FD6B5A16BEC}" type="pres">
      <dgm:prSet presAssocID="{06C7CFC9-3FD2-44A8-BF63-1C80F022AD19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65595178-48C9-41E6-BFE9-9EA52E235C29}" type="presOf" srcId="{06C7CFC9-3FD2-44A8-BF63-1C80F022AD19}" destId="{D5446B77-167A-44C5-810C-4FD6B5A16BEC}" srcOrd="0" destOrd="0" presId="urn:microsoft.com/office/officeart/2005/8/layout/vList2"/>
    <dgm:cxn modelId="{57BA4FE5-3781-4630-84CA-93F1F7098B9E}" srcId="{638E25B3-42FC-4019-A4ED-422ADD023EE0}" destId="{06C7CFC9-3FD2-44A8-BF63-1C80F022AD19}" srcOrd="0" destOrd="0" parTransId="{2A91E56A-4160-4181-90EB-8CF158A6BE2A}" sibTransId="{01784162-8914-4082-8953-6FBD003A05B5}"/>
    <dgm:cxn modelId="{E29FCBAE-4242-4DE1-8A64-81B54FB79CA8}" type="presOf" srcId="{638E25B3-42FC-4019-A4ED-422ADD023EE0}" destId="{73EE669A-9CE5-4CFF-A404-F3DB46703F7A}" srcOrd="0" destOrd="0" presId="urn:microsoft.com/office/officeart/2005/8/layout/vList2"/>
    <dgm:cxn modelId="{7C26F4BD-9068-4E7D-8796-3F7DA421324A}" type="presParOf" srcId="{73EE669A-9CE5-4CFF-A404-F3DB46703F7A}" destId="{D5446B77-167A-44C5-810C-4FD6B5A16BE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2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DE2097CB-79F1-4D82-AA62-6F53D29B3CF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72C98972-5BEA-4DA3-91B4-220D0A24DB37}">
      <dgm:prSet/>
      <dgm:spPr/>
      <dgm:t>
        <a:bodyPr/>
        <a:lstStyle/>
        <a:p>
          <a:pPr rtl="0"/>
          <a:r>
            <a:rPr lang="en-US" b="1" smtClean="0"/>
            <a:t>Nandini N</a:t>
          </a:r>
          <a:endParaRPr lang="en-US"/>
        </a:p>
      </dgm:t>
    </dgm:pt>
    <dgm:pt modelId="{00414805-8DD0-48BD-8B5F-7765A68B0B04}" type="parTrans" cxnId="{173DCC26-F725-4F5D-A533-64DF7789E900}">
      <dgm:prSet/>
      <dgm:spPr/>
      <dgm:t>
        <a:bodyPr/>
        <a:lstStyle/>
        <a:p>
          <a:endParaRPr lang="en-US"/>
        </a:p>
      </dgm:t>
    </dgm:pt>
    <dgm:pt modelId="{FAE290C6-51D9-4F4A-9D70-37B097CB8918}" type="sibTrans" cxnId="{173DCC26-F725-4F5D-A533-64DF7789E900}">
      <dgm:prSet/>
      <dgm:spPr/>
      <dgm:t>
        <a:bodyPr/>
        <a:lstStyle/>
        <a:p>
          <a:endParaRPr lang="en-US"/>
        </a:p>
      </dgm:t>
    </dgm:pt>
    <dgm:pt modelId="{4E01B9D4-506D-46E0-980D-2954F94EB8A5}" type="pres">
      <dgm:prSet presAssocID="{DE2097CB-79F1-4D82-AA62-6F53D29B3CF3}" presName="linear" presStyleCnt="0">
        <dgm:presLayoutVars>
          <dgm:animLvl val="lvl"/>
          <dgm:resizeHandles val="exact"/>
        </dgm:presLayoutVars>
      </dgm:prSet>
      <dgm:spPr/>
    </dgm:pt>
    <dgm:pt modelId="{9E347666-900E-45B2-945F-4D3628C58D83}" type="pres">
      <dgm:prSet presAssocID="{72C98972-5BEA-4DA3-91B4-220D0A24DB37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65604E94-3B67-4D24-BB8E-CB4A81AE0B11}" type="presOf" srcId="{72C98972-5BEA-4DA3-91B4-220D0A24DB37}" destId="{9E347666-900E-45B2-945F-4D3628C58D83}" srcOrd="0" destOrd="0" presId="urn:microsoft.com/office/officeart/2005/8/layout/vList2"/>
    <dgm:cxn modelId="{173DCC26-F725-4F5D-A533-64DF7789E900}" srcId="{DE2097CB-79F1-4D82-AA62-6F53D29B3CF3}" destId="{72C98972-5BEA-4DA3-91B4-220D0A24DB37}" srcOrd="0" destOrd="0" parTransId="{00414805-8DD0-48BD-8B5F-7765A68B0B04}" sibTransId="{FAE290C6-51D9-4F4A-9D70-37B097CB8918}"/>
    <dgm:cxn modelId="{76717F46-8526-4BD6-905B-5BBD6548D993}" type="presOf" srcId="{DE2097CB-79F1-4D82-AA62-6F53D29B3CF3}" destId="{4E01B9D4-506D-46E0-980D-2954F94EB8A5}" srcOrd="0" destOrd="0" presId="urn:microsoft.com/office/officeart/2005/8/layout/vList2"/>
    <dgm:cxn modelId="{CDA5ABDD-9545-4E51-8A09-2A890FAECC9B}" type="presParOf" srcId="{4E01B9D4-506D-46E0-980D-2954F94EB8A5}" destId="{9E347666-900E-45B2-945F-4D3628C58D8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7426CA28-AF9A-4A86-A766-EEC53613543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5581626B-E2C6-4EAC-A350-EBE4A4EF9085}">
      <dgm:prSet/>
      <dgm:spPr/>
      <dgm:t>
        <a:bodyPr/>
        <a:lstStyle/>
        <a:p>
          <a:pPr rtl="0"/>
          <a:r>
            <a:rPr lang="en-US" b="1" dirty="0" smtClean="0"/>
            <a:t>Navya Rani M</a:t>
          </a:r>
          <a:endParaRPr lang="en-US" dirty="0"/>
        </a:p>
      </dgm:t>
    </dgm:pt>
    <dgm:pt modelId="{3CDBA2E3-E86B-47E4-A7E9-727C2315E628}" type="parTrans" cxnId="{A2567190-3801-478C-9BAC-8E1879403D6A}">
      <dgm:prSet/>
      <dgm:spPr/>
      <dgm:t>
        <a:bodyPr/>
        <a:lstStyle/>
        <a:p>
          <a:endParaRPr lang="en-US"/>
        </a:p>
      </dgm:t>
    </dgm:pt>
    <dgm:pt modelId="{1E8AE8F2-794D-4E8D-BB1A-8AE1736F7D70}" type="sibTrans" cxnId="{A2567190-3801-478C-9BAC-8E1879403D6A}">
      <dgm:prSet/>
      <dgm:spPr/>
      <dgm:t>
        <a:bodyPr/>
        <a:lstStyle/>
        <a:p>
          <a:endParaRPr lang="en-US"/>
        </a:p>
      </dgm:t>
    </dgm:pt>
    <dgm:pt modelId="{E2C3E6C1-8FFE-486E-BB68-EC2FA378AFFC}" type="pres">
      <dgm:prSet presAssocID="{7426CA28-AF9A-4A86-A766-EEC536135434}" presName="linear" presStyleCnt="0">
        <dgm:presLayoutVars>
          <dgm:animLvl val="lvl"/>
          <dgm:resizeHandles val="exact"/>
        </dgm:presLayoutVars>
      </dgm:prSet>
      <dgm:spPr/>
    </dgm:pt>
    <dgm:pt modelId="{FFBE70EC-C1AE-4FC5-97C0-DAC6213A9A27}" type="pres">
      <dgm:prSet presAssocID="{5581626B-E2C6-4EAC-A350-EBE4A4EF9085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FFCFE880-BC93-416C-AEE2-14238EB0BA80}" type="presOf" srcId="{5581626B-E2C6-4EAC-A350-EBE4A4EF9085}" destId="{FFBE70EC-C1AE-4FC5-97C0-DAC6213A9A27}" srcOrd="0" destOrd="0" presId="urn:microsoft.com/office/officeart/2005/8/layout/vList2"/>
    <dgm:cxn modelId="{A2567190-3801-478C-9BAC-8E1879403D6A}" srcId="{7426CA28-AF9A-4A86-A766-EEC536135434}" destId="{5581626B-E2C6-4EAC-A350-EBE4A4EF9085}" srcOrd="0" destOrd="0" parTransId="{3CDBA2E3-E86B-47E4-A7E9-727C2315E628}" sibTransId="{1E8AE8F2-794D-4E8D-BB1A-8AE1736F7D70}"/>
    <dgm:cxn modelId="{3F50EAE9-E8BE-45E8-B253-EF7107E9D97C}" type="presOf" srcId="{7426CA28-AF9A-4A86-A766-EEC536135434}" destId="{E2C3E6C1-8FFE-486E-BB68-EC2FA378AFFC}" srcOrd="0" destOrd="0" presId="urn:microsoft.com/office/officeart/2005/8/layout/vList2"/>
    <dgm:cxn modelId="{9443C942-1412-4C4F-9873-E66EE209B3E0}" type="presParOf" srcId="{E2C3E6C1-8FFE-486E-BB68-EC2FA378AFFC}" destId="{FFBE70EC-C1AE-4FC5-97C0-DAC6213A9A2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2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C583AD3F-5F43-438E-ACC6-5029F2D63B7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F1CF7311-4BD3-4E2E-B10C-3B83F953C649}">
      <dgm:prSet/>
      <dgm:spPr/>
      <dgm:t>
        <a:bodyPr/>
        <a:lstStyle/>
        <a:p>
          <a:pPr rtl="0"/>
          <a:r>
            <a:rPr lang="en-US" b="1" smtClean="0"/>
            <a:t>Rushabh Choube</a:t>
          </a:r>
          <a:endParaRPr lang="en-US"/>
        </a:p>
      </dgm:t>
    </dgm:pt>
    <dgm:pt modelId="{ED6262DF-0518-4ACB-AE8E-58C6B8AFDE47}" type="parTrans" cxnId="{142A2385-D855-42F9-AFA0-82152D3DB113}">
      <dgm:prSet/>
      <dgm:spPr/>
      <dgm:t>
        <a:bodyPr/>
        <a:lstStyle/>
        <a:p>
          <a:endParaRPr lang="en-US"/>
        </a:p>
      </dgm:t>
    </dgm:pt>
    <dgm:pt modelId="{9FDF74D3-D513-43B9-8EC2-AD98A74FB300}" type="sibTrans" cxnId="{142A2385-D855-42F9-AFA0-82152D3DB113}">
      <dgm:prSet/>
      <dgm:spPr/>
      <dgm:t>
        <a:bodyPr/>
        <a:lstStyle/>
        <a:p>
          <a:endParaRPr lang="en-US"/>
        </a:p>
      </dgm:t>
    </dgm:pt>
    <dgm:pt modelId="{135A5B8B-B8A7-4598-B910-39C7ADD3ACC2}" type="pres">
      <dgm:prSet presAssocID="{C583AD3F-5F43-438E-ACC6-5029F2D63B74}" presName="linear" presStyleCnt="0">
        <dgm:presLayoutVars>
          <dgm:animLvl val="lvl"/>
          <dgm:resizeHandles val="exact"/>
        </dgm:presLayoutVars>
      </dgm:prSet>
      <dgm:spPr/>
    </dgm:pt>
    <dgm:pt modelId="{4DAA1BB6-BB30-41F8-BA2B-55117AF2CA79}" type="pres">
      <dgm:prSet presAssocID="{F1CF7311-4BD3-4E2E-B10C-3B83F953C649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48A1CD2F-E877-46DE-8CAE-A33FB6621A28}" type="presOf" srcId="{C583AD3F-5F43-438E-ACC6-5029F2D63B74}" destId="{135A5B8B-B8A7-4598-B910-39C7ADD3ACC2}" srcOrd="0" destOrd="0" presId="urn:microsoft.com/office/officeart/2005/8/layout/vList2"/>
    <dgm:cxn modelId="{FAC43DBD-F874-4F72-A0DD-A831E5F96FF8}" type="presOf" srcId="{F1CF7311-4BD3-4E2E-B10C-3B83F953C649}" destId="{4DAA1BB6-BB30-41F8-BA2B-55117AF2CA79}" srcOrd="0" destOrd="0" presId="urn:microsoft.com/office/officeart/2005/8/layout/vList2"/>
    <dgm:cxn modelId="{142A2385-D855-42F9-AFA0-82152D3DB113}" srcId="{C583AD3F-5F43-438E-ACC6-5029F2D63B74}" destId="{F1CF7311-4BD3-4E2E-B10C-3B83F953C649}" srcOrd="0" destOrd="0" parTransId="{ED6262DF-0518-4ACB-AE8E-58C6B8AFDE47}" sibTransId="{9FDF74D3-D513-43B9-8EC2-AD98A74FB300}"/>
    <dgm:cxn modelId="{951ABA5C-3ECC-44B2-847D-639EDA9CBCD0}" type="presParOf" srcId="{135A5B8B-B8A7-4598-B910-39C7ADD3ACC2}" destId="{4DAA1BB6-BB30-41F8-BA2B-55117AF2CA79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EC473013-D2CB-4E87-B602-0C0F1A9E90D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76695BC3-2D76-499B-A43A-A79BD2A88BF6}">
      <dgm:prSet/>
      <dgm:spPr/>
      <dgm:t>
        <a:bodyPr/>
        <a:lstStyle/>
        <a:p>
          <a:pPr rtl="0"/>
          <a:r>
            <a:rPr lang="en-US" b="1" smtClean="0"/>
            <a:t>Sai Priya B</a:t>
          </a:r>
          <a:endParaRPr lang="en-US"/>
        </a:p>
      </dgm:t>
    </dgm:pt>
    <dgm:pt modelId="{CBE53E7C-EECB-49AE-9791-76C0A470DA7D}" type="parTrans" cxnId="{B7BECF8D-2013-4F35-A061-695F46ED2F9D}">
      <dgm:prSet/>
      <dgm:spPr/>
      <dgm:t>
        <a:bodyPr/>
        <a:lstStyle/>
        <a:p>
          <a:endParaRPr lang="en-US"/>
        </a:p>
      </dgm:t>
    </dgm:pt>
    <dgm:pt modelId="{C09DB5B6-5F65-440C-B99B-BD2B953BE2AE}" type="sibTrans" cxnId="{B7BECF8D-2013-4F35-A061-695F46ED2F9D}">
      <dgm:prSet/>
      <dgm:spPr/>
      <dgm:t>
        <a:bodyPr/>
        <a:lstStyle/>
        <a:p>
          <a:endParaRPr lang="en-US"/>
        </a:p>
      </dgm:t>
    </dgm:pt>
    <dgm:pt modelId="{2F2F2712-DC9A-4157-A695-7B6A3BD666CB}" type="pres">
      <dgm:prSet presAssocID="{EC473013-D2CB-4E87-B602-0C0F1A9E90D7}" presName="linear" presStyleCnt="0">
        <dgm:presLayoutVars>
          <dgm:animLvl val="lvl"/>
          <dgm:resizeHandles val="exact"/>
        </dgm:presLayoutVars>
      </dgm:prSet>
      <dgm:spPr/>
    </dgm:pt>
    <dgm:pt modelId="{33E9943C-F379-4831-B258-76C37BAC439F}" type="pres">
      <dgm:prSet presAssocID="{76695BC3-2D76-499B-A43A-A79BD2A88BF6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3CF021EA-F874-4822-9B9B-33B7F0E504E1}" type="presOf" srcId="{EC473013-D2CB-4E87-B602-0C0F1A9E90D7}" destId="{2F2F2712-DC9A-4157-A695-7B6A3BD666CB}" srcOrd="0" destOrd="0" presId="urn:microsoft.com/office/officeart/2005/8/layout/vList2"/>
    <dgm:cxn modelId="{E121704D-B3BB-4C53-94EE-9D5A39040590}" type="presOf" srcId="{76695BC3-2D76-499B-A43A-A79BD2A88BF6}" destId="{33E9943C-F379-4831-B258-76C37BAC439F}" srcOrd="0" destOrd="0" presId="urn:microsoft.com/office/officeart/2005/8/layout/vList2"/>
    <dgm:cxn modelId="{B7BECF8D-2013-4F35-A061-695F46ED2F9D}" srcId="{EC473013-D2CB-4E87-B602-0C0F1A9E90D7}" destId="{76695BC3-2D76-499B-A43A-A79BD2A88BF6}" srcOrd="0" destOrd="0" parTransId="{CBE53E7C-EECB-49AE-9791-76C0A470DA7D}" sibTransId="{C09DB5B6-5F65-440C-B99B-BD2B953BE2AE}"/>
    <dgm:cxn modelId="{0B142618-2934-4115-BCA2-41F9AC0D867E}" type="presParOf" srcId="{2F2F2712-DC9A-4157-A695-7B6A3BD666CB}" destId="{33E9943C-F379-4831-B258-76C37BAC439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2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9C22B1D8-053A-4A4D-9998-5F5D1410518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94AAC7F-6CDE-409B-A76A-1D361AB032A1}">
      <dgm:prSet/>
      <dgm:spPr/>
      <dgm:t>
        <a:bodyPr/>
        <a:lstStyle/>
        <a:p>
          <a:pPr rtl="0"/>
          <a:r>
            <a:rPr lang="en-US" b="1" dirty="0" smtClean="0"/>
            <a:t>The project is aimed to test an online University Admission System (UAS) for applicants. </a:t>
          </a:r>
          <a:endParaRPr lang="en-US" dirty="0"/>
        </a:p>
      </dgm:t>
    </dgm:pt>
    <dgm:pt modelId="{D59E5F48-DE59-4E2D-8F4A-FE29AB64AF3F}" type="parTrans" cxnId="{36E933BE-BA85-4E70-AC42-EDF3F710CA72}">
      <dgm:prSet/>
      <dgm:spPr/>
      <dgm:t>
        <a:bodyPr/>
        <a:lstStyle/>
        <a:p>
          <a:endParaRPr lang="en-US"/>
        </a:p>
      </dgm:t>
    </dgm:pt>
    <dgm:pt modelId="{FA8C6662-D9BE-40B2-921C-0EC22FE4B9B4}" type="sibTrans" cxnId="{36E933BE-BA85-4E70-AC42-EDF3F710CA72}">
      <dgm:prSet/>
      <dgm:spPr/>
      <dgm:t>
        <a:bodyPr/>
        <a:lstStyle/>
        <a:p>
          <a:endParaRPr lang="en-US"/>
        </a:p>
      </dgm:t>
    </dgm:pt>
    <dgm:pt modelId="{99206FAC-11B1-4DAD-A83A-F7BA46852EAB}">
      <dgm:prSet/>
      <dgm:spPr/>
      <dgm:t>
        <a:bodyPr/>
        <a:lstStyle/>
        <a:p>
          <a:pPr rtl="0"/>
          <a:r>
            <a:rPr lang="en-US" b="1" dirty="0" smtClean="0"/>
            <a:t>This is a web based application.</a:t>
          </a:r>
          <a:endParaRPr lang="en-US" dirty="0"/>
        </a:p>
      </dgm:t>
    </dgm:pt>
    <dgm:pt modelId="{5903F48F-0F95-4FF5-A94E-DC3D46A0FE19}" type="parTrans" cxnId="{A587ABCE-6034-4690-8976-83EE031BF941}">
      <dgm:prSet/>
      <dgm:spPr/>
      <dgm:t>
        <a:bodyPr/>
        <a:lstStyle/>
        <a:p>
          <a:endParaRPr lang="en-US"/>
        </a:p>
      </dgm:t>
    </dgm:pt>
    <dgm:pt modelId="{35FAC62D-C4C7-4E39-8175-3F9E9D1995A5}" type="sibTrans" cxnId="{A587ABCE-6034-4690-8976-83EE031BF941}">
      <dgm:prSet/>
      <dgm:spPr/>
      <dgm:t>
        <a:bodyPr/>
        <a:lstStyle/>
        <a:p>
          <a:endParaRPr lang="en-US"/>
        </a:p>
      </dgm:t>
    </dgm:pt>
    <dgm:pt modelId="{2C7EC46C-0BFB-4046-B414-70C77877EB95}">
      <dgm:prSet/>
      <dgm:spPr/>
      <dgm:t>
        <a:bodyPr/>
        <a:lstStyle/>
        <a:p>
          <a:pPr rtl="0"/>
          <a:r>
            <a:rPr lang="en-US" b="1" dirty="0" smtClean="0"/>
            <a:t>This system can be used to search a university program, apply online for a selected University program without any login and fill up the form.</a:t>
          </a:r>
          <a:endParaRPr lang="en-US" dirty="0"/>
        </a:p>
      </dgm:t>
    </dgm:pt>
    <dgm:pt modelId="{0947BD0F-4CD7-43B3-8E9F-22E72397ED1E}" type="parTrans" cxnId="{7172886E-7A5B-4068-8721-4B48BE2332FC}">
      <dgm:prSet/>
      <dgm:spPr/>
      <dgm:t>
        <a:bodyPr/>
        <a:lstStyle/>
        <a:p>
          <a:endParaRPr lang="en-US"/>
        </a:p>
      </dgm:t>
    </dgm:pt>
    <dgm:pt modelId="{5A82EEEB-D3AA-4ADC-B33C-00D3058ACCA3}" type="sibTrans" cxnId="{7172886E-7A5B-4068-8721-4B48BE2332FC}">
      <dgm:prSet/>
      <dgm:spPr/>
      <dgm:t>
        <a:bodyPr/>
        <a:lstStyle/>
        <a:p>
          <a:endParaRPr lang="en-US"/>
        </a:p>
      </dgm:t>
    </dgm:pt>
    <dgm:pt modelId="{2D40C16A-1BD9-4AF7-8E26-A60DCD388744}" type="pres">
      <dgm:prSet presAssocID="{9C22B1D8-053A-4A4D-9998-5F5D1410518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4E49416-342C-4C1F-842D-C2D0955E6671}" type="pres">
      <dgm:prSet presAssocID="{194AAC7F-6CDE-409B-A76A-1D361AB032A1}" presName="parentText" presStyleLbl="node1" presStyleIdx="0" presStyleCnt="3" custScaleY="2903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F014EE-BB5A-4C55-A3F2-304DEA1E73E2}" type="pres">
      <dgm:prSet presAssocID="{FA8C6662-D9BE-40B2-921C-0EC22FE4B9B4}" presName="spacer" presStyleCnt="0"/>
      <dgm:spPr/>
    </dgm:pt>
    <dgm:pt modelId="{EF9E9413-A5C9-4868-8677-023F64B9E823}" type="pres">
      <dgm:prSet presAssocID="{99206FAC-11B1-4DAD-A83A-F7BA46852EAB}" presName="parentText" presStyleLbl="node1" presStyleIdx="1" presStyleCnt="3" custScaleY="1733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3BF219-747A-45EB-ACE5-CA9B412645A6}" type="pres">
      <dgm:prSet presAssocID="{35FAC62D-C4C7-4E39-8175-3F9E9D1995A5}" presName="spacer" presStyleCnt="0"/>
      <dgm:spPr/>
    </dgm:pt>
    <dgm:pt modelId="{E1DE32F9-33C1-4531-B87D-6428A1956D7F}" type="pres">
      <dgm:prSet presAssocID="{2C7EC46C-0BFB-4046-B414-70C77877EB95}" presName="parentText" presStyleLbl="node1" presStyleIdx="2" presStyleCnt="3" custScaleY="37894" custLinFactNeighborX="926" custLinFactNeighborY="3925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9F27951-12D1-4D4E-BC3A-B82D6B3901C9}" type="presOf" srcId="{9C22B1D8-053A-4A4D-9998-5F5D1410518F}" destId="{2D40C16A-1BD9-4AF7-8E26-A60DCD388744}" srcOrd="0" destOrd="0" presId="urn:microsoft.com/office/officeart/2005/8/layout/vList2"/>
    <dgm:cxn modelId="{AD6F235A-4E6B-4B08-9359-46AB4A104A8D}" type="presOf" srcId="{99206FAC-11B1-4DAD-A83A-F7BA46852EAB}" destId="{EF9E9413-A5C9-4868-8677-023F64B9E823}" srcOrd="0" destOrd="0" presId="urn:microsoft.com/office/officeart/2005/8/layout/vList2"/>
    <dgm:cxn modelId="{7172886E-7A5B-4068-8721-4B48BE2332FC}" srcId="{9C22B1D8-053A-4A4D-9998-5F5D1410518F}" destId="{2C7EC46C-0BFB-4046-B414-70C77877EB95}" srcOrd="2" destOrd="0" parTransId="{0947BD0F-4CD7-43B3-8E9F-22E72397ED1E}" sibTransId="{5A82EEEB-D3AA-4ADC-B33C-00D3058ACCA3}"/>
    <dgm:cxn modelId="{916BBF46-2C19-4E21-9272-F1248CBC2A99}" type="presOf" srcId="{194AAC7F-6CDE-409B-A76A-1D361AB032A1}" destId="{04E49416-342C-4C1F-842D-C2D0955E6671}" srcOrd="0" destOrd="0" presId="urn:microsoft.com/office/officeart/2005/8/layout/vList2"/>
    <dgm:cxn modelId="{A587ABCE-6034-4690-8976-83EE031BF941}" srcId="{9C22B1D8-053A-4A4D-9998-5F5D1410518F}" destId="{99206FAC-11B1-4DAD-A83A-F7BA46852EAB}" srcOrd="1" destOrd="0" parTransId="{5903F48F-0F95-4FF5-A94E-DC3D46A0FE19}" sibTransId="{35FAC62D-C4C7-4E39-8175-3F9E9D1995A5}"/>
    <dgm:cxn modelId="{38127A32-5A90-472B-98AB-4D25A44B5116}" type="presOf" srcId="{2C7EC46C-0BFB-4046-B414-70C77877EB95}" destId="{E1DE32F9-33C1-4531-B87D-6428A1956D7F}" srcOrd="0" destOrd="0" presId="urn:microsoft.com/office/officeart/2005/8/layout/vList2"/>
    <dgm:cxn modelId="{36E933BE-BA85-4E70-AC42-EDF3F710CA72}" srcId="{9C22B1D8-053A-4A4D-9998-5F5D1410518F}" destId="{194AAC7F-6CDE-409B-A76A-1D361AB032A1}" srcOrd="0" destOrd="0" parTransId="{D59E5F48-DE59-4E2D-8F4A-FE29AB64AF3F}" sibTransId="{FA8C6662-D9BE-40B2-921C-0EC22FE4B9B4}"/>
    <dgm:cxn modelId="{D452E3AC-6092-46B6-94DF-A05F3B17C93F}" type="presParOf" srcId="{2D40C16A-1BD9-4AF7-8E26-A60DCD388744}" destId="{04E49416-342C-4C1F-842D-C2D0955E6671}" srcOrd="0" destOrd="0" presId="urn:microsoft.com/office/officeart/2005/8/layout/vList2"/>
    <dgm:cxn modelId="{9ADB22FD-BA55-4CD3-8E9B-332CE7F848D8}" type="presParOf" srcId="{2D40C16A-1BD9-4AF7-8E26-A60DCD388744}" destId="{C4F014EE-BB5A-4C55-A3F2-304DEA1E73E2}" srcOrd="1" destOrd="0" presId="urn:microsoft.com/office/officeart/2005/8/layout/vList2"/>
    <dgm:cxn modelId="{8AC1377B-3EEF-4587-99EC-EF653DD06D25}" type="presParOf" srcId="{2D40C16A-1BD9-4AF7-8E26-A60DCD388744}" destId="{EF9E9413-A5C9-4868-8677-023F64B9E823}" srcOrd="2" destOrd="0" presId="urn:microsoft.com/office/officeart/2005/8/layout/vList2"/>
    <dgm:cxn modelId="{2DA6F050-1F4E-4403-810A-F5DFA88AC366}" type="presParOf" srcId="{2D40C16A-1BD9-4AF7-8E26-A60DCD388744}" destId="{5A3BF219-747A-45EB-ACE5-CA9B412645A6}" srcOrd="3" destOrd="0" presId="urn:microsoft.com/office/officeart/2005/8/layout/vList2"/>
    <dgm:cxn modelId="{C5529D51-D67C-4FB3-BC9E-76F428B1FF2B}" type="presParOf" srcId="{2D40C16A-1BD9-4AF7-8E26-A60DCD388744}" destId="{E1DE32F9-33C1-4531-B87D-6428A1956D7F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F80C75D-3F44-4C97-B45E-00816427B46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8BE6EF93-85F1-454F-BB05-2AD00CBD6B80}">
      <dgm:prSet/>
      <dgm:spPr/>
      <dgm:t>
        <a:bodyPr/>
        <a:lstStyle/>
        <a:p>
          <a:pPr rtl="0"/>
          <a:r>
            <a:rPr lang="en-US" dirty="0" smtClean="0"/>
            <a:t>EMPLOYEE NAME</a:t>
          </a:r>
          <a:endParaRPr lang="en-US" dirty="0"/>
        </a:p>
      </dgm:t>
    </dgm:pt>
    <dgm:pt modelId="{F33D6E11-4101-4F70-B5F0-CC93BAC63DD4}" type="parTrans" cxnId="{E0D700A0-C92D-4A4C-8B96-AAD996ABD194}">
      <dgm:prSet/>
      <dgm:spPr/>
      <dgm:t>
        <a:bodyPr/>
        <a:lstStyle/>
        <a:p>
          <a:endParaRPr lang="en-US"/>
        </a:p>
      </dgm:t>
    </dgm:pt>
    <dgm:pt modelId="{4E705612-4C9C-4790-AFD5-2C45012D688A}" type="sibTrans" cxnId="{E0D700A0-C92D-4A4C-8B96-AAD996ABD194}">
      <dgm:prSet/>
      <dgm:spPr/>
      <dgm:t>
        <a:bodyPr/>
        <a:lstStyle/>
        <a:p>
          <a:endParaRPr lang="en-US"/>
        </a:p>
      </dgm:t>
    </dgm:pt>
    <dgm:pt modelId="{1E79136C-A197-45D1-8631-6B7AADB90D1B}" type="pres">
      <dgm:prSet presAssocID="{5F80C75D-3F44-4C97-B45E-00816427B466}" presName="linear" presStyleCnt="0">
        <dgm:presLayoutVars>
          <dgm:animLvl val="lvl"/>
          <dgm:resizeHandles val="exact"/>
        </dgm:presLayoutVars>
      </dgm:prSet>
      <dgm:spPr/>
    </dgm:pt>
    <dgm:pt modelId="{19FC502A-59AE-4D68-ACD8-F3EAD3419CC5}" type="pres">
      <dgm:prSet presAssocID="{8BE6EF93-85F1-454F-BB05-2AD00CBD6B80}" presName="parentText" presStyleLbl="node1" presStyleIdx="0" presStyleCnt="1" custLinFactNeighborX="-3675" custLinFactNeighborY="-4913">
        <dgm:presLayoutVars>
          <dgm:chMax val="0"/>
          <dgm:bulletEnabled val="1"/>
        </dgm:presLayoutVars>
      </dgm:prSet>
      <dgm:spPr/>
    </dgm:pt>
  </dgm:ptLst>
  <dgm:cxnLst>
    <dgm:cxn modelId="{E0D700A0-C92D-4A4C-8B96-AAD996ABD194}" srcId="{5F80C75D-3F44-4C97-B45E-00816427B466}" destId="{8BE6EF93-85F1-454F-BB05-2AD00CBD6B80}" srcOrd="0" destOrd="0" parTransId="{F33D6E11-4101-4F70-B5F0-CC93BAC63DD4}" sibTransId="{4E705612-4C9C-4790-AFD5-2C45012D688A}"/>
    <dgm:cxn modelId="{7D5C1F19-4DC2-4DE3-8B65-CF307F3417A3}" type="presOf" srcId="{8BE6EF93-85F1-454F-BB05-2AD00CBD6B80}" destId="{19FC502A-59AE-4D68-ACD8-F3EAD3419CC5}" srcOrd="0" destOrd="0" presId="urn:microsoft.com/office/officeart/2005/8/layout/vList2"/>
    <dgm:cxn modelId="{7EC1F320-A639-43C1-A9EE-F61E7F596E40}" type="presOf" srcId="{5F80C75D-3F44-4C97-B45E-00816427B466}" destId="{1E79136C-A197-45D1-8631-6B7AADB90D1B}" srcOrd="0" destOrd="0" presId="urn:microsoft.com/office/officeart/2005/8/layout/vList2"/>
    <dgm:cxn modelId="{AA0F00F0-E35A-425E-BA28-408E4958B027}" type="presParOf" srcId="{1E79136C-A197-45D1-8631-6B7AADB90D1B}" destId="{19FC502A-59AE-4D68-ACD8-F3EAD3419CC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BC3F5B08-6202-4772-8BD5-7E1C996A41E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FE455CB-6976-4CEB-8048-CAA6E3134BD6}">
      <dgm:prSet/>
      <dgm:spPr/>
      <dgm:t>
        <a:bodyPr/>
        <a:lstStyle/>
        <a:p>
          <a:pPr rtl="0"/>
          <a:r>
            <a:rPr lang="en-US" b="1" dirty="0" smtClean="0"/>
            <a:t>This system can also be used by the Administration staff to add/update/delete any program that university offers. </a:t>
          </a:r>
          <a:endParaRPr lang="en-US" dirty="0"/>
        </a:p>
      </dgm:t>
    </dgm:pt>
    <dgm:pt modelId="{3C1577DE-E553-440F-9EBB-7CB2128087A1}" type="parTrans" cxnId="{6588C848-AA41-4A68-BFEF-BA7D1EE5A40B}">
      <dgm:prSet/>
      <dgm:spPr/>
      <dgm:t>
        <a:bodyPr/>
        <a:lstStyle/>
        <a:p>
          <a:endParaRPr lang="en-US"/>
        </a:p>
      </dgm:t>
    </dgm:pt>
    <dgm:pt modelId="{DD33E94E-3D48-44AE-8E50-E36DC57911B8}" type="sibTrans" cxnId="{6588C848-AA41-4A68-BFEF-BA7D1EE5A40B}">
      <dgm:prSet/>
      <dgm:spPr/>
      <dgm:t>
        <a:bodyPr/>
        <a:lstStyle/>
        <a:p>
          <a:endParaRPr lang="en-US"/>
        </a:p>
      </dgm:t>
    </dgm:pt>
    <dgm:pt modelId="{90D587A8-89AC-462E-9163-D1F3ECC74108}">
      <dgm:prSet/>
      <dgm:spPr/>
      <dgm:t>
        <a:bodyPr/>
        <a:lstStyle/>
        <a:p>
          <a:pPr rtl="0"/>
          <a:r>
            <a:rPr lang="en-US" b="1" dirty="0" smtClean="0"/>
            <a:t>Members of admission committee(MAC) have the responsibility to filter the candidates for a specific program on the basis of application data and interview. </a:t>
          </a:r>
          <a:endParaRPr lang="en-US" dirty="0"/>
        </a:p>
      </dgm:t>
    </dgm:pt>
    <dgm:pt modelId="{D98F1740-E556-461F-ADC1-41077EDA1C63}" type="parTrans" cxnId="{559A6E6E-8070-45EC-AAD2-83AD8666AFF6}">
      <dgm:prSet/>
      <dgm:spPr/>
      <dgm:t>
        <a:bodyPr/>
        <a:lstStyle/>
        <a:p>
          <a:endParaRPr lang="en-US"/>
        </a:p>
      </dgm:t>
    </dgm:pt>
    <dgm:pt modelId="{BA57EE52-3200-47D9-BB3E-2A90951E26BA}" type="sibTrans" cxnId="{559A6E6E-8070-45EC-AAD2-83AD8666AFF6}">
      <dgm:prSet/>
      <dgm:spPr/>
      <dgm:t>
        <a:bodyPr/>
        <a:lstStyle/>
        <a:p>
          <a:endParaRPr lang="en-US"/>
        </a:p>
      </dgm:t>
    </dgm:pt>
    <dgm:pt modelId="{9E3E1D74-7E21-4DD6-A26F-292293A6DED7}">
      <dgm:prSet/>
      <dgm:spPr/>
      <dgm:t>
        <a:bodyPr/>
        <a:lstStyle/>
        <a:p>
          <a:pPr rtl="0"/>
          <a:r>
            <a:rPr lang="en-US" b="1" smtClean="0">
              <a:hlinkClick xmlns:r="http://schemas.openxmlformats.org/officeDocument/2006/relationships" r:id="rId1"/>
            </a:rPr>
            <a:t>http://ilearnUniversity.com</a:t>
          </a:r>
          <a:endParaRPr lang="en-US"/>
        </a:p>
      </dgm:t>
    </dgm:pt>
    <dgm:pt modelId="{F437C49F-A53A-4B65-83D1-E38479D79B91}" type="parTrans" cxnId="{3703593F-E0B0-44EF-9F5E-BB93E48CC24E}">
      <dgm:prSet/>
      <dgm:spPr/>
      <dgm:t>
        <a:bodyPr/>
        <a:lstStyle/>
        <a:p>
          <a:endParaRPr lang="en-US"/>
        </a:p>
      </dgm:t>
    </dgm:pt>
    <dgm:pt modelId="{39072872-6D36-4FA2-A9BC-BEED7D6A6184}" type="sibTrans" cxnId="{3703593F-E0B0-44EF-9F5E-BB93E48CC24E}">
      <dgm:prSet/>
      <dgm:spPr/>
      <dgm:t>
        <a:bodyPr/>
        <a:lstStyle/>
        <a:p>
          <a:endParaRPr lang="en-US"/>
        </a:p>
      </dgm:t>
    </dgm:pt>
    <dgm:pt modelId="{0AE8D466-CBDF-4980-A622-5B53358D0D87}" type="pres">
      <dgm:prSet presAssocID="{BC3F5B08-6202-4772-8BD5-7E1C996A41E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16F6E54-CCC1-480E-9237-F0F254DDA5CF}" type="pres">
      <dgm:prSet presAssocID="{1FE455CB-6976-4CEB-8048-CAA6E3134BD6}" presName="parentText" presStyleLbl="node1" presStyleIdx="0" presStyleCnt="3" custScaleY="3871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EF0153-674A-496B-B844-A8EC3E36C164}" type="pres">
      <dgm:prSet presAssocID="{DD33E94E-3D48-44AE-8E50-E36DC57911B8}" presName="spacer" presStyleCnt="0"/>
      <dgm:spPr/>
    </dgm:pt>
    <dgm:pt modelId="{B5042E0C-D775-44CB-BC5E-433F9EB3FAF4}" type="pres">
      <dgm:prSet presAssocID="{90D587A8-89AC-462E-9163-D1F3ECC74108}" presName="parentText" presStyleLbl="node1" presStyleIdx="1" presStyleCnt="3" custScaleY="5171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CC3E84-65C9-4D0C-A746-3ED73A79CFE7}" type="pres">
      <dgm:prSet presAssocID="{BA57EE52-3200-47D9-BB3E-2A90951E26BA}" presName="spacer" presStyleCnt="0"/>
      <dgm:spPr/>
    </dgm:pt>
    <dgm:pt modelId="{83DAD5B1-1C05-4999-B0AD-D1A0C2B0328A}" type="pres">
      <dgm:prSet presAssocID="{9E3E1D74-7E21-4DD6-A26F-292293A6DED7}" presName="parentText" presStyleLbl="node1" presStyleIdx="2" presStyleCnt="3" custScaleY="33842" custLinFactNeighborY="3046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4D1DC90-B77E-4C2C-9C27-3890ED6D3160}" type="presOf" srcId="{1FE455CB-6976-4CEB-8048-CAA6E3134BD6}" destId="{816F6E54-CCC1-480E-9237-F0F254DDA5CF}" srcOrd="0" destOrd="0" presId="urn:microsoft.com/office/officeart/2005/8/layout/vList2"/>
    <dgm:cxn modelId="{559A6E6E-8070-45EC-AAD2-83AD8666AFF6}" srcId="{BC3F5B08-6202-4772-8BD5-7E1C996A41E8}" destId="{90D587A8-89AC-462E-9163-D1F3ECC74108}" srcOrd="1" destOrd="0" parTransId="{D98F1740-E556-461F-ADC1-41077EDA1C63}" sibTransId="{BA57EE52-3200-47D9-BB3E-2A90951E26BA}"/>
    <dgm:cxn modelId="{3703593F-E0B0-44EF-9F5E-BB93E48CC24E}" srcId="{BC3F5B08-6202-4772-8BD5-7E1C996A41E8}" destId="{9E3E1D74-7E21-4DD6-A26F-292293A6DED7}" srcOrd="2" destOrd="0" parTransId="{F437C49F-A53A-4B65-83D1-E38479D79B91}" sibTransId="{39072872-6D36-4FA2-A9BC-BEED7D6A6184}"/>
    <dgm:cxn modelId="{4DB88BA6-640F-4D55-A334-1D42155978F3}" type="presOf" srcId="{BC3F5B08-6202-4772-8BD5-7E1C996A41E8}" destId="{0AE8D466-CBDF-4980-A622-5B53358D0D87}" srcOrd="0" destOrd="0" presId="urn:microsoft.com/office/officeart/2005/8/layout/vList2"/>
    <dgm:cxn modelId="{06198F67-63F8-48FC-AFB2-9B91935E50A0}" type="presOf" srcId="{9E3E1D74-7E21-4DD6-A26F-292293A6DED7}" destId="{83DAD5B1-1C05-4999-B0AD-D1A0C2B0328A}" srcOrd="0" destOrd="0" presId="urn:microsoft.com/office/officeart/2005/8/layout/vList2"/>
    <dgm:cxn modelId="{6588C848-AA41-4A68-BFEF-BA7D1EE5A40B}" srcId="{BC3F5B08-6202-4772-8BD5-7E1C996A41E8}" destId="{1FE455CB-6976-4CEB-8048-CAA6E3134BD6}" srcOrd="0" destOrd="0" parTransId="{3C1577DE-E553-440F-9EBB-7CB2128087A1}" sibTransId="{DD33E94E-3D48-44AE-8E50-E36DC57911B8}"/>
    <dgm:cxn modelId="{39E8C42A-77C4-4BD6-BF4E-34D58EC7789F}" type="presOf" srcId="{90D587A8-89AC-462E-9163-D1F3ECC74108}" destId="{B5042E0C-D775-44CB-BC5E-433F9EB3FAF4}" srcOrd="0" destOrd="0" presId="urn:microsoft.com/office/officeart/2005/8/layout/vList2"/>
    <dgm:cxn modelId="{4AD2D885-1393-47EF-92DE-51464316E771}" type="presParOf" srcId="{0AE8D466-CBDF-4980-A622-5B53358D0D87}" destId="{816F6E54-CCC1-480E-9237-F0F254DDA5CF}" srcOrd="0" destOrd="0" presId="urn:microsoft.com/office/officeart/2005/8/layout/vList2"/>
    <dgm:cxn modelId="{66C059D6-E609-47AC-A6B0-13C581628750}" type="presParOf" srcId="{0AE8D466-CBDF-4980-A622-5B53358D0D87}" destId="{93EF0153-674A-496B-B844-A8EC3E36C164}" srcOrd="1" destOrd="0" presId="urn:microsoft.com/office/officeart/2005/8/layout/vList2"/>
    <dgm:cxn modelId="{07381A0C-1B14-45F1-AEF4-38DECB8AB032}" type="presParOf" srcId="{0AE8D466-CBDF-4980-A622-5B53358D0D87}" destId="{B5042E0C-D775-44CB-BC5E-433F9EB3FAF4}" srcOrd="2" destOrd="0" presId="urn:microsoft.com/office/officeart/2005/8/layout/vList2"/>
    <dgm:cxn modelId="{2CB6C26E-9738-44E7-A2F5-026CFE3D79C6}" type="presParOf" srcId="{0AE8D466-CBDF-4980-A622-5B53358D0D87}" destId="{13CC3E84-65C9-4D0C-A746-3ED73A79CFE7}" srcOrd="3" destOrd="0" presId="urn:microsoft.com/office/officeart/2005/8/layout/vList2"/>
    <dgm:cxn modelId="{5F69B01E-FC17-44F7-8EFA-9B7FDDC53191}" type="presParOf" srcId="{0AE8D466-CBDF-4980-A622-5B53358D0D87}" destId="{83DAD5B1-1C05-4999-B0AD-D1A0C2B0328A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D27FE6C5-ECF6-4CBD-AFD8-E161EC29905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5A739E5-AD41-4484-AC12-E6B1F3EF873F}">
      <dgm:prSet phldrT="[Text]"/>
      <dgm:spPr/>
      <dgm:t>
        <a:bodyPr/>
        <a:lstStyle/>
        <a:p>
          <a:r>
            <a:rPr lang="en-US" dirty="0" smtClean="0"/>
            <a:t>Applicant</a:t>
          </a:r>
          <a:endParaRPr lang="en-US" dirty="0"/>
        </a:p>
      </dgm:t>
    </dgm:pt>
    <dgm:pt modelId="{EDB8AC90-8D3E-4343-B613-3CFF1AB7C7D4}" type="parTrans" cxnId="{D0EC0269-03B8-439D-AFEC-A5FCC95FB396}">
      <dgm:prSet/>
      <dgm:spPr/>
      <dgm:t>
        <a:bodyPr/>
        <a:lstStyle/>
        <a:p>
          <a:endParaRPr lang="en-US"/>
        </a:p>
      </dgm:t>
    </dgm:pt>
    <dgm:pt modelId="{10BEA7BC-C90E-4B1D-83E0-9E466A19623D}" type="sibTrans" cxnId="{D0EC0269-03B8-439D-AFEC-A5FCC95FB396}">
      <dgm:prSet/>
      <dgm:spPr/>
      <dgm:t>
        <a:bodyPr/>
        <a:lstStyle/>
        <a:p>
          <a:endParaRPr lang="en-US"/>
        </a:p>
      </dgm:t>
    </dgm:pt>
    <dgm:pt modelId="{485B1E1A-586E-4895-9D61-70E48A17D1D4}">
      <dgm:prSet phldrT="[Text]"/>
      <dgm:spPr/>
      <dgm:t>
        <a:bodyPr/>
        <a:lstStyle/>
        <a:p>
          <a:r>
            <a:rPr lang="en-US" dirty="0" smtClean="0"/>
            <a:t>Administrator</a:t>
          </a:r>
          <a:endParaRPr lang="en-US" dirty="0"/>
        </a:p>
      </dgm:t>
    </dgm:pt>
    <dgm:pt modelId="{9096380D-1410-407F-A859-C81FDD855224}" type="parTrans" cxnId="{555AA0F0-47EE-429D-872E-CFB8F9E0658C}">
      <dgm:prSet/>
      <dgm:spPr/>
      <dgm:t>
        <a:bodyPr/>
        <a:lstStyle/>
        <a:p>
          <a:endParaRPr lang="en-US"/>
        </a:p>
      </dgm:t>
    </dgm:pt>
    <dgm:pt modelId="{628D2AB6-537C-49E1-9DE6-F23CF25440F5}" type="sibTrans" cxnId="{555AA0F0-47EE-429D-872E-CFB8F9E0658C}">
      <dgm:prSet/>
      <dgm:spPr/>
      <dgm:t>
        <a:bodyPr/>
        <a:lstStyle/>
        <a:p>
          <a:endParaRPr lang="en-US"/>
        </a:p>
      </dgm:t>
    </dgm:pt>
    <dgm:pt modelId="{F6171EB5-1541-4377-A1E5-14A96919E05E}">
      <dgm:prSet phldrT="[Text]"/>
      <dgm:spPr/>
      <dgm:t>
        <a:bodyPr/>
        <a:lstStyle/>
        <a:p>
          <a:r>
            <a:rPr lang="en-US" dirty="0" smtClean="0"/>
            <a:t>MAC (Member’s of Admission Committee)</a:t>
          </a:r>
          <a:endParaRPr lang="en-US" dirty="0"/>
        </a:p>
      </dgm:t>
    </dgm:pt>
    <dgm:pt modelId="{EE875A63-1653-4676-A1E2-BAF855A35F72}" type="parTrans" cxnId="{0A161794-99AE-44C0-9B38-EB752F3B7A48}">
      <dgm:prSet/>
      <dgm:spPr/>
      <dgm:t>
        <a:bodyPr/>
        <a:lstStyle/>
        <a:p>
          <a:endParaRPr lang="en-US"/>
        </a:p>
      </dgm:t>
    </dgm:pt>
    <dgm:pt modelId="{65378CE3-D060-4CDA-8855-7DA17AC59871}" type="sibTrans" cxnId="{0A161794-99AE-44C0-9B38-EB752F3B7A48}">
      <dgm:prSet/>
      <dgm:spPr/>
      <dgm:t>
        <a:bodyPr/>
        <a:lstStyle/>
        <a:p>
          <a:endParaRPr lang="en-US"/>
        </a:p>
      </dgm:t>
    </dgm:pt>
    <dgm:pt modelId="{BFC417FA-2307-4DCC-9C1D-92E12113EB72}" type="pres">
      <dgm:prSet presAssocID="{D27FE6C5-ECF6-4CBD-AFD8-E161EC29905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528C9510-68C6-47C5-A11D-56AF2F400972}" type="pres">
      <dgm:prSet presAssocID="{D27FE6C5-ECF6-4CBD-AFD8-E161EC299053}" presName="Name1" presStyleCnt="0"/>
      <dgm:spPr/>
    </dgm:pt>
    <dgm:pt modelId="{B86B12A3-34FF-4C48-AAD8-E9D99D97AF35}" type="pres">
      <dgm:prSet presAssocID="{D27FE6C5-ECF6-4CBD-AFD8-E161EC299053}" presName="cycle" presStyleCnt="0"/>
      <dgm:spPr/>
    </dgm:pt>
    <dgm:pt modelId="{D97AB93A-FD44-4386-8DED-3377E0C01431}" type="pres">
      <dgm:prSet presAssocID="{D27FE6C5-ECF6-4CBD-AFD8-E161EC299053}" presName="srcNode" presStyleLbl="node1" presStyleIdx="0" presStyleCnt="3"/>
      <dgm:spPr/>
    </dgm:pt>
    <dgm:pt modelId="{35AC6DC6-FA02-4231-8C0A-4353AA568762}" type="pres">
      <dgm:prSet presAssocID="{D27FE6C5-ECF6-4CBD-AFD8-E161EC299053}" presName="conn" presStyleLbl="parChTrans1D2" presStyleIdx="0" presStyleCnt="1"/>
      <dgm:spPr/>
      <dgm:t>
        <a:bodyPr/>
        <a:lstStyle/>
        <a:p>
          <a:endParaRPr lang="en-US"/>
        </a:p>
      </dgm:t>
    </dgm:pt>
    <dgm:pt modelId="{127E3C04-AA7E-4E21-9702-D49871F6CFDD}" type="pres">
      <dgm:prSet presAssocID="{D27FE6C5-ECF6-4CBD-AFD8-E161EC299053}" presName="extraNode" presStyleLbl="node1" presStyleIdx="0" presStyleCnt="3"/>
      <dgm:spPr/>
    </dgm:pt>
    <dgm:pt modelId="{C219A3F9-FD13-49BF-A2F9-E783D7FF1ACD}" type="pres">
      <dgm:prSet presAssocID="{D27FE6C5-ECF6-4CBD-AFD8-E161EC299053}" presName="dstNode" presStyleLbl="node1" presStyleIdx="0" presStyleCnt="3"/>
      <dgm:spPr/>
    </dgm:pt>
    <dgm:pt modelId="{F42E3911-C73C-4D21-BDE5-A16C1C0F4DE9}" type="pres">
      <dgm:prSet presAssocID="{D5A739E5-AD41-4484-AC12-E6B1F3EF873F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285BCA-F8DE-4459-BB4F-9FF808BD7E07}" type="pres">
      <dgm:prSet presAssocID="{D5A739E5-AD41-4484-AC12-E6B1F3EF873F}" presName="accent_1" presStyleCnt="0"/>
      <dgm:spPr/>
    </dgm:pt>
    <dgm:pt modelId="{052EB42F-D5AD-4E59-A8D9-7E209109DF46}" type="pres">
      <dgm:prSet presAssocID="{D5A739E5-AD41-4484-AC12-E6B1F3EF873F}" presName="accentRepeatNode" presStyleLbl="solidFgAcc1" presStyleIdx="0" presStyleCnt="3"/>
      <dgm:spPr/>
    </dgm:pt>
    <dgm:pt modelId="{02FBF426-270A-4116-88C9-EAFC9FE632E6}" type="pres">
      <dgm:prSet presAssocID="{485B1E1A-586E-4895-9D61-70E48A17D1D4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4D88F6-1BBE-4BFF-A076-ED8170B5D5F0}" type="pres">
      <dgm:prSet presAssocID="{485B1E1A-586E-4895-9D61-70E48A17D1D4}" presName="accent_2" presStyleCnt="0"/>
      <dgm:spPr/>
    </dgm:pt>
    <dgm:pt modelId="{B9A252AB-B064-4217-9ADA-FBE1FF95985E}" type="pres">
      <dgm:prSet presAssocID="{485B1E1A-586E-4895-9D61-70E48A17D1D4}" presName="accentRepeatNode" presStyleLbl="solidFgAcc1" presStyleIdx="1" presStyleCnt="3"/>
      <dgm:spPr/>
    </dgm:pt>
    <dgm:pt modelId="{73BDDBB6-16A8-4742-893A-8B8A0E3DD525}" type="pres">
      <dgm:prSet presAssocID="{F6171EB5-1541-4377-A1E5-14A96919E05E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1B283B-6D40-4DF9-AC7F-FC3232ACDA4A}" type="pres">
      <dgm:prSet presAssocID="{F6171EB5-1541-4377-A1E5-14A96919E05E}" presName="accent_3" presStyleCnt="0"/>
      <dgm:spPr/>
    </dgm:pt>
    <dgm:pt modelId="{3228DB47-F845-44C0-AC71-8111314F0AE8}" type="pres">
      <dgm:prSet presAssocID="{F6171EB5-1541-4377-A1E5-14A96919E05E}" presName="accentRepeatNode" presStyleLbl="solidFgAcc1" presStyleIdx="2" presStyleCnt="3"/>
      <dgm:spPr/>
    </dgm:pt>
  </dgm:ptLst>
  <dgm:cxnLst>
    <dgm:cxn modelId="{0A161794-99AE-44C0-9B38-EB752F3B7A48}" srcId="{D27FE6C5-ECF6-4CBD-AFD8-E161EC299053}" destId="{F6171EB5-1541-4377-A1E5-14A96919E05E}" srcOrd="2" destOrd="0" parTransId="{EE875A63-1653-4676-A1E2-BAF855A35F72}" sibTransId="{65378CE3-D060-4CDA-8855-7DA17AC59871}"/>
    <dgm:cxn modelId="{EEAF628E-7681-4FAD-B06F-2E0AA15488EA}" type="presOf" srcId="{F6171EB5-1541-4377-A1E5-14A96919E05E}" destId="{73BDDBB6-16A8-4742-893A-8B8A0E3DD525}" srcOrd="0" destOrd="0" presId="urn:microsoft.com/office/officeart/2008/layout/VerticalCurvedList"/>
    <dgm:cxn modelId="{216FE576-D305-4763-BCF6-F54511108529}" type="presOf" srcId="{D5A739E5-AD41-4484-AC12-E6B1F3EF873F}" destId="{F42E3911-C73C-4D21-BDE5-A16C1C0F4DE9}" srcOrd="0" destOrd="0" presId="urn:microsoft.com/office/officeart/2008/layout/VerticalCurvedList"/>
    <dgm:cxn modelId="{2668B2E7-8C02-49C9-8580-BC54DE2BAEA1}" type="presOf" srcId="{10BEA7BC-C90E-4B1D-83E0-9E466A19623D}" destId="{35AC6DC6-FA02-4231-8C0A-4353AA568762}" srcOrd="0" destOrd="0" presId="urn:microsoft.com/office/officeart/2008/layout/VerticalCurvedList"/>
    <dgm:cxn modelId="{D0EC0269-03B8-439D-AFEC-A5FCC95FB396}" srcId="{D27FE6C5-ECF6-4CBD-AFD8-E161EC299053}" destId="{D5A739E5-AD41-4484-AC12-E6B1F3EF873F}" srcOrd="0" destOrd="0" parTransId="{EDB8AC90-8D3E-4343-B613-3CFF1AB7C7D4}" sibTransId="{10BEA7BC-C90E-4B1D-83E0-9E466A19623D}"/>
    <dgm:cxn modelId="{4072BB40-8966-4376-9BA8-18DED9F12FF4}" type="presOf" srcId="{485B1E1A-586E-4895-9D61-70E48A17D1D4}" destId="{02FBF426-270A-4116-88C9-EAFC9FE632E6}" srcOrd="0" destOrd="0" presId="urn:microsoft.com/office/officeart/2008/layout/VerticalCurvedList"/>
    <dgm:cxn modelId="{2ADCB20E-1EC2-47F4-A416-B2CD9564B2B2}" type="presOf" srcId="{D27FE6C5-ECF6-4CBD-AFD8-E161EC299053}" destId="{BFC417FA-2307-4DCC-9C1D-92E12113EB72}" srcOrd="0" destOrd="0" presId="urn:microsoft.com/office/officeart/2008/layout/VerticalCurvedList"/>
    <dgm:cxn modelId="{555AA0F0-47EE-429D-872E-CFB8F9E0658C}" srcId="{D27FE6C5-ECF6-4CBD-AFD8-E161EC299053}" destId="{485B1E1A-586E-4895-9D61-70E48A17D1D4}" srcOrd="1" destOrd="0" parTransId="{9096380D-1410-407F-A859-C81FDD855224}" sibTransId="{628D2AB6-537C-49E1-9DE6-F23CF25440F5}"/>
    <dgm:cxn modelId="{F6EE1124-C8C7-4679-A161-37D9F646871C}" type="presParOf" srcId="{BFC417FA-2307-4DCC-9C1D-92E12113EB72}" destId="{528C9510-68C6-47C5-A11D-56AF2F400972}" srcOrd="0" destOrd="0" presId="urn:microsoft.com/office/officeart/2008/layout/VerticalCurvedList"/>
    <dgm:cxn modelId="{0E446FA6-1B58-43E2-9136-CCBA300069BB}" type="presParOf" srcId="{528C9510-68C6-47C5-A11D-56AF2F400972}" destId="{B86B12A3-34FF-4C48-AAD8-E9D99D97AF35}" srcOrd="0" destOrd="0" presId="urn:microsoft.com/office/officeart/2008/layout/VerticalCurvedList"/>
    <dgm:cxn modelId="{A001B9BA-017C-461D-8A92-316844BFADD6}" type="presParOf" srcId="{B86B12A3-34FF-4C48-AAD8-E9D99D97AF35}" destId="{D97AB93A-FD44-4386-8DED-3377E0C01431}" srcOrd="0" destOrd="0" presId="urn:microsoft.com/office/officeart/2008/layout/VerticalCurvedList"/>
    <dgm:cxn modelId="{B9CA49A2-F64A-40ED-B147-40E23EEF9911}" type="presParOf" srcId="{B86B12A3-34FF-4C48-AAD8-E9D99D97AF35}" destId="{35AC6DC6-FA02-4231-8C0A-4353AA568762}" srcOrd="1" destOrd="0" presId="urn:microsoft.com/office/officeart/2008/layout/VerticalCurvedList"/>
    <dgm:cxn modelId="{1D0CD7ED-6F7C-47F0-B35D-BA2DF6556564}" type="presParOf" srcId="{B86B12A3-34FF-4C48-AAD8-E9D99D97AF35}" destId="{127E3C04-AA7E-4E21-9702-D49871F6CFDD}" srcOrd="2" destOrd="0" presId="urn:microsoft.com/office/officeart/2008/layout/VerticalCurvedList"/>
    <dgm:cxn modelId="{E5CFADB6-9247-46EB-B5DC-658CC1D8235B}" type="presParOf" srcId="{B86B12A3-34FF-4C48-AAD8-E9D99D97AF35}" destId="{C219A3F9-FD13-49BF-A2F9-E783D7FF1ACD}" srcOrd="3" destOrd="0" presId="urn:microsoft.com/office/officeart/2008/layout/VerticalCurvedList"/>
    <dgm:cxn modelId="{C7EB8A30-697C-4F02-9B3D-43E34F3429EA}" type="presParOf" srcId="{528C9510-68C6-47C5-A11D-56AF2F400972}" destId="{F42E3911-C73C-4D21-BDE5-A16C1C0F4DE9}" srcOrd="1" destOrd="0" presId="urn:microsoft.com/office/officeart/2008/layout/VerticalCurvedList"/>
    <dgm:cxn modelId="{68830378-DA26-459F-8139-4BF80E0A6052}" type="presParOf" srcId="{528C9510-68C6-47C5-A11D-56AF2F400972}" destId="{AF285BCA-F8DE-4459-BB4F-9FF808BD7E07}" srcOrd="2" destOrd="0" presId="urn:microsoft.com/office/officeart/2008/layout/VerticalCurvedList"/>
    <dgm:cxn modelId="{789BAB56-5B14-4FA7-BCF3-0F336F7B4F47}" type="presParOf" srcId="{AF285BCA-F8DE-4459-BB4F-9FF808BD7E07}" destId="{052EB42F-D5AD-4E59-A8D9-7E209109DF46}" srcOrd="0" destOrd="0" presId="urn:microsoft.com/office/officeart/2008/layout/VerticalCurvedList"/>
    <dgm:cxn modelId="{9A3762C8-6619-4C5E-8FFB-5B1A1B909AE0}" type="presParOf" srcId="{528C9510-68C6-47C5-A11D-56AF2F400972}" destId="{02FBF426-270A-4116-88C9-EAFC9FE632E6}" srcOrd="3" destOrd="0" presId="urn:microsoft.com/office/officeart/2008/layout/VerticalCurvedList"/>
    <dgm:cxn modelId="{7FAB7E3C-6288-433B-95C9-AFC376EC4805}" type="presParOf" srcId="{528C9510-68C6-47C5-A11D-56AF2F400972}" destId="{414D88F6-1BBE-4BFF-A076-ED8170B5D5F0}" srcOrd="4" destOrd="0" presId="urn:microsoft.com/office/officeart/2008/layout/VerticalCurvedList"/>
    <dgm:cxn modelId="{261B8250-1BBB-4421-896A-489843F0DD9C}" type="presParOf" srcId="{414D88F6-1BBE-4BFF-A076-ED8170B5D5F0}" destId="{B9A252AB-B064-4217-9ADA-FBE1FF95985E}" srcOrd="0" destOrd="0" presId="urn:microsoft.com/office/officeart/2008/layout/VerticalCurvedList"/>
    <dgm:cxn modelId="{95E77828-71FC-4A8F-8CAB-834BD9AD1AC4}" type="presParOf" srcId="{528C9510-68C6-47C5-A11D-56AF2F400972}" destId="{73BDDBB6-16A8-4742-893A-8B8A0E3DD525}" srcOrd="5" destOrd="0" presId="urn:microsoft.com/office/officeart/2008/layout/VerticalCurvedList"/>
    <dgm:cxn modelId="{D648E03E-FEFB-41B1-9C71-F171E7BB242C}" type="presParOf" srcId="{528C9510-68C6-47C5-A11D-56AF2F400972}" destId="{1A1B283B-6D40-4DF9-AC7F-FC3232ACDA4A}" srcOrd="6" destOrd="0" presId="urn:microsoft.com/office/officeart/2008/layout/VerticalCurvedList"/>
    <dgm:cxn modelId="{624461E9-2605-4FCC-BB3C-2DE19B2729A6}" type="presParOf" srcId="{1A1B283B-6D40-4DF9-AC7F-FC3232ACDA4A}" destId="{3228DB47-F845-44C0-AC71-8111314F0AE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D743EB0-1E41-46A0-B3FB-DF243ED8A22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1B8B590-4890-4892-B42C-BDAA74641E52}">
      <dgm:prSet/>
      <dgm:spPr/>
      <dgm:t>
        <a:bodyPr/>
        <a:lstStyle/>
        <a:p>
          <a:pPr rtl="0"/>
          <a:r>
            <a:rPr lang="en-US" b="1" smtClean="0"/>
            <a:t>Total Test Cases : 137</a:t>
          </a:r>
          <a:endParaRPr lang="en-US"/>
        </a:p>
      </dgm:t>
    </dgm:pt>
    <dgm:pt modelId="{8C1422F6-B457-4D88-92F2-0D70119909A6}" type="parTrans" cxnId="{1676759E-9AB4-40EA-87CB-6F9FF73AEB7B}">
      <dgm:prSet/>
      <dgm:spPr/>
      <dgm:t>
        <a:bodyPr/>
        <a:lstStyle/>
        <a:p>
          <a:endParaRPr lang="en-US"/>
        </a:p>
      </dgm:t>
    </dgm:pt>
    <dgm:pt modelId="{0B18E7F8-8B02-473F-BE97-F489AF58B900}" type="sibTrans" cxnId="{1676759E-9AB4-40EA-87CB-6F9FF73AEB7B}">
      <dgm:prSet/>
      <dgm:spPr/>
      <dgm:t>
        <a:bodyPr/>
        <a:lstStyle/>
        <a:p>
          <a:endParaRPr lang="en-US"/>
        </a:p>
      </dgm:t>
    </dgm:pt>
    <dgm:pt modelId="{995ECFC7-3BC7-4E1E-8E80-4EA8E88EC5E7}">
      <dgm:prSet/>
      <dgm:spPr/>
      <dgm:t>
        <a:bodyPr/>
        <a:lstStyle/>
        <a:p>
          <a:pPr rtl="0"/>
          <a:r>
            <a:rPr lang="en-US" b="1" smtClean="0"/>
            <a:t>Test Cases Passed: 104</a:t>
          </a:r>
          <a:endParaRPr lang="en-US"/>
        </a:p>
      </dgm:t>
    </dgm:pt>
    <dgm:pt modelId="{89851867-F1D5-46AC-9DC6-24FFC01E122C}" type="parTrans" cxnId="{51952644-3259-41BD-B34A-2F77B5F78E0B}">
      <dgm:prSet/>
      <dgm:spPr/>
      <dgm:t>
        <a:bodyPr/>
        <a:lstStyle/>
        <a:p>
          <a:endParaRPr lang="en-US"/>
        </a:p>
      </dgm:t>
    </dgm:pt>
    <dgm:pt modelId="{D011B7C4-8C70-48C7-AED7-81CB5DFC3993}" type="sibTrans" cxnId="{51952644-3259-41BD-B34A-2F77B5F78E0B}">
      <dgm:prSet/>
      <dgm:spPr/>
      <dgm:t>
        <a:bodyPr/>
        <a:lstStyle/>
        <a:p>
          <a:endParaRPr lang="en-US"/>
        </a:p>
      </dgm:t>
    </dgm:pt>
    <dgm:pt modelId="{18F0315C-E939-4D7D-959D-C14A13C6632B}">
      <dgm:prSet/>
      <dgm:spPr/>
      <dgm:t>
        <a:bodyPr/>
        <a:lstStyle/>
        <a:p>
          <a:pPr rtl="0"/>
          <a:r>
            <a:rPr lang="en-US" b="1" dirty="0" smtClean="0"/>
            <a:t>Test Cases Failed:33</a:t>
          </a:r>
          <a:endParaRPr lang="en-US" dirty="0"/>
        </a:p>
      </dgm:t>
    </dgm:pt>
    <dgm:pt modelId="{7936C7C2-AB3C-49E8-8130-A2F43797D45A}" type="parTrans" cxnId="{2D0310C2-B301-49A4-9228-D78DC47BF0DC}">
      <dgm:prSet/>
      <dgm:spPr/>
      <dgm:t>
        <a:bodyPr/>
        <a:lstStyle/>
        <a:p>
          <a:endParaRPr lang="en-US"/>
        </a:p>
      </dgm:t>
    </dgm:pt>
    <dgm:pt modelId="{36C005CE-C8B5-4DD3-8056-A5FDE227A717}" type="sibTrans" cxnId="{2D0310C2-B301-49A4-9228-D78DC47BF0DC}">
      <dgm:prSet/>
      <dgm:spPr/>
      <dgm:t>
        <a:bodyPr/>
        <a:lstStyle/>
        <a:p>
          <a:endParaRPr lang="en-US"/>
        </a:p>
      </dgm:t>
    </dgm:pt>
    <dgm:pt modelId="{A00802EF-FC05-4B7A-9866-018DE8414C1E}" type="pres">
      <dgm:prSet presAssocID="{0D743EB0-1E41-46A0-B3FB-DF243ED8A22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9E46BA1-0CB4-4D99-A90E-093D9CEB035E}" type="pres">
      <dgm:prSet presAssocID="{11B8B590-4890-4892-B42C-BDAA74641E52}" presName="parentText" presStyleLbl="node1" presStyleIdx="0" presStyleCnt="3" custScaleY="5178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1B7AB2-E242-489D-BCEB-16AB25488BEC}" type="pres">
      <dgm:prSet presAssocID="{0B18E7F8-8B02-473F-BE97-F489AF58B900}" presName="spacer" presStyleCnt="0"/>
      <dgm:spPr/>
    </dgm:pt>
    <dgm:pt modelId="{56504824-0802-41E1-9130-C46B5EEAA280}" type="pres">
      <dgm:prSet presAssocID="{995ECFC7-3BC7-4E1E-8E80-4EA8E88EC5E7}" presName="parentText" presStyleLbl="node1" presStyleIdx="1" presStyleCnt="3" custScaleY="4720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F2540A-9C90-459C-83FC-B5A528F55C1F}" type="pres">
      <dgm:prSet presAssocID="{D011B7C4-8C70-48C7-AED7-81CB5DFC3993}" presName="spacer" presStyleCnt="0"/>
      <dgm:spPr/>
    </dgm:pt>
    <dgm:pt modelId="{F4D76358-D677-4E69-B08B-3833EFEB9C3D}" type="pres">
      <dgm:prSet presAssocID="{18F0315C-E939-4D7D-959D-C14A13C6632B}" presName="parentText" presStyleLbl="node1" presStyleIdx="2" presStyleCnt="3" custScaleY="4878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1952644-3259-41BD-B34A-2F77B5F78E0B}" srcId="{0D743EB0-1E41-46A0-B3FB-DF243ED8A228}" destId="{995ECFC7-3BC7-4E1E-8E80-4EA8E88EC5E7}" srcOrd="1" destOrd="0" parTransId="{89851867-F1D5-46AC-9DC6-24FFC01E122C}" sibTransId="{D011B7C4-8C70-48C7-AED7-81CB5DFC3993}"/>
    <dgm:cxn modelId="{1676759E-9AB4-40EA-87CB-6F9FF73AEB7B}" srcId="{0D743EB0-1E41-46A0-B3FB-DF243ED8A228}" destId="{11B8B590-4890-4892-B42C-BDAA74641E52}" srcOrd="0" destOrd="0" parTransId="{8C1422F6-B457-4D88-92F2-0D70119909A6}" sibTransId="{0B18E7F8-8B02-473F-BE97-F489AF58B900}"/>
    <dgm:cxn modelId="{F10592CB-ACF7-4A8E-A14E-4DC9DFA9C277}" type="presOf" srcId="{995ECFC7-3BC7-4E1E-8E80-4EA8E88EC5E7}" destId="{56504824-0802-41E1-9130-C46B5EEAA280}" srcOrd="0" destOrd="0" presId="urn:microsoft.com/office/officeart/2005/8/layout/vList2"/>
    <dgm:cxn modelId="{02BCE95A-5DD1-44ED-9A4A-17F5BAFB9838}" type="presOf" srcId="{11B8B590-4890-4892-B42C-BDAA74641E52}" destId="{69E46BA1-0CB4-4D99-A90E-093D9CEB035E}" srcOrd="0" destOrd="0" presId="urn:microsoft.com/office/officeart/2005/8/layout/vList2"/>
    <dgm:cxn modelId="{2D0310C2-B301-49A4-9228-D78DC47BF0DC}" srcId="{0D743EB0-1E41-46A0-B3FB-DF243ED8A228}" destId="{18F0315C-E939-4D7D-959D-C14A13C6632B}" srcOrd="2" destOrd="0" parTransId="{7936C7C2-AB3C-49E8-8130-A2F43797D45A}" sibTransId="{36C005CE-C8B5-4DD3-8056-A5FDE227A717}"/>
    <dgm:cxn modelId="{2AD44092-8BBE-436E-B932-85FC486B56B8}" type="presOf" srcId="{18F0315C-E939-4D7D-959D-C14A13C6632B}" destId="{F4D76358-D677-4E69-B08B-3833EFEB9C3D}" srcOrd="0" destOrd="0" presId="urn:microsoft.com/office/officeart/2005/8/layout/vList2"/>
    <dgm:cxn modelId="{494B7FE4-7BAB-4116-88C1-EBD6A9FD7D65}" type="presOf" srcId="{0D743EB0-1E41-46A0-B3FB-DF243ED8A228}" destId="{A00802EF-FC05-4B7A-9866-018DE8414C1E}" srcOrd="0" destOrd="0" presId="urn:microsoft.com/office/officeart/2005/8/layout/vList2"/>
    <dgm:cxn modelId="{3C7628E8-EAD5-4742-AF71-269387D53D72}" type="presParOf" srcId="{A00802EF-FC05-4B7A-9866-018DE8414C1E}" destId="{69E46BA1-0CB4-4D99-A90E-093D9CEB035E}" srcOrd="0" destOrd="0" presId="urn:microsoft.com/office/officeart/2005/8/layout/vList2"/>
    <dgm:cxn modelId="{D1FFD02F-BCC4-45B3-82D9-32F06C848068}" type="presParOf" srcId="{A00802EF-FC05-4B7A-9866-018DE8414C1E}" destId="{D51B7AB2-E242-489D-BCEB-16AB25488BEC}" srcOrd="1" destOrd="0" presId="urn:microsoft.com/office/officeart/2005/8/layout/vList2"/>
    <dgm:cxn modelId="{575C1AD6-7ECB-457A-833C-D8B5BE33CAA1}" type="presParOf" srcId="{A00802EF-FC05-4B7A-9866-018DE8414C1E}" destId="{56504824-0802-41E1-9130-C46B5EEAA280}" srcOrd="2" destOrd="0" presId="urn:microsoft.com/office/officeart/2005/8/layout/vList2"/>
    <dgm:cxn modelId="{79E7504C-0336-4F82-BF7D-E50A824C1A3B}" type="presParOf" srcId="{A00802EF-FC05-4B7A-9866-018DE8414C1E}" destId="{3BF2540A-9C90-459C-83FC-B5A528F55C1F}" srcOrd="3" destOrd="0" presId="urn:microsoft.com/office/officeart/2005/8/layout/vList2"/>
    <dgm:cxn modelId="{3E456D10-7F2B-4286-900E-4BE8F22AE8BE}" type="presParOf" srcId="{A00802EF-FC05-4B7A-9866-018DE8414C1E}" destId="{F4D76358-D677-4E69-B08B-3833EFEB9C3D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800DE1A1-9DF4-4142-9AAC-8B0A802EAFC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DB81283-B597-46F3-BF65-1341D369E36F}">
      <dgm:prSet/>
      <dgm:spPr/>
      <dgm:t>
        <a:bodyPr/>
        <a:lstStyle/>
        <a:p>
          <a:pPr rtl="0"/>
          <a:r>
            <a:rPr lang="en-US" b="1" u="sng" dirty="0" smtClean="0"/>
            <a:t>To simplify the requirements for better understanding of the system user test</a:t>
          </a:r>
          <a:endParaRPr lang="en-US" dirty="0"/>
        </a:p>
      </dgm:t>
    </dgm:pt>
    <dgm:pt modelId="{416F227F-317A-49C6-B663-C899053B34EF}" type="parTrans" cxnId="{1B650470-C618-4525-9E4C-14BD512F91B8}">
      <dgm:prSet/>
      <dgm:spPr/>
      <dgm:t>
        <a:bodyPr/>
        <a:lstStyle/>
        <a:p>
          <a:endParaRPr lang="en-US"/>
        </a:p>
      </dgm:t>
    </dgm:pt>
    <dgm:pt modelId="{05235073-2FEA-4F88-BFD0-9FEE0558C09C}" type="sibTrans" cxnId="{1B650470-C618-4525-9E4C-14BD512F91B8}">
      <dgm:prSet/>
      <dgm:spPr/>
      <dgm:t>
        <a:bodyPr/>
        <a:lstStyle/>
        <a:p>
          <a:endParaRPr lang="en-US"/>
        </a:p>
      </dgm:t>
    </dgm:pt>
    <dgm:pt modelId="{05DE540A-260A-49C9-ABCE-913D3AD48879}">
      <dgm:prSet/>
      <dgm:spPr/>
      <dgm:t>
        <a:bodyPr/>
        <a:lstStyle/>
        <a:p>
          <a:pPr rtl="0"/>
          <a:r>
            <a:rPr lang="en-US" b="1" u="sng" dirty="0" smtClean="0"/>
            <a:t>To identify different Test scenarios</a:t>
          </a:r>
          <a:endParaRPr lang="en-US" dirty="0"/>
        </a:p>
      </dgm:t>
    </dgm:pt>
    <dgm:pt modelId="{1DCDEDEE-4ADF-49C5-A44D-A55D541ED30E}" type="parTrans" cxnId="{759C2B63-D12B-4FCB-9181-926C072C10AF}">
      <dgm:prSet/>
      <dgm:spPr/>
      <dgm:t>
        <a:bodyPr/>
        <a:lstStyle/>
        <a:p>
          <a:endParaRPr lang="en-US"/>
        </a:p>
      </dgm:t>
    </dgm:pt>
    <dgm:pt modelId="{8063F7B3-43F5-4006-9694-091298E875C2}" type="sibTrans" cxnId="{759C2B63-D12B-4FCB-9181-926C072C10AF}">
      <dgm:prSet/>
      <dgm:spPr/>
      <dgm:t>
        <a:bodyPr/>
        <a:lstStyle/>
        <a:p>
          <a:endParaRPr lang="en-US"/>
        </a:p>
      </dgm:t>
    </dgm:pt>
    <dgm:pt modelId="{D6B97643-7250-4E1E-ADAF-DF43DECDEE3B}">
      <dgm:prSet/>
      <dgm:spPr/>
      <dgm:t>
        <a:bodyPr/>
        <a:lstStyle/>
        <a:p>
          <a:pPr rtl="0"/>
          <a:r>
            <a:rPr lang="en-US" b="1" u="sng" dirty="0" smtClean="0"/>
            <a:t>To identify testable items for the application</a:t>
          </a:r>
          <a:endParaRPr lang="en-US" dirty="0"/>
        </a:p>
      </dgm:t>
    </dgm:pt>
    <dgm:pt modelId="{BE8FBF05-A31A-4126-AF6F-604756F7F52F}" type="parTrans" cxnId="{9B5ABEC1-0E18-48B8-ABA9-8E726D18F74B}">
      <dgm:prSet/>
      <dgm:spPr/>
      <dgm:t>
        <a:bodyPr/>
        <a:lstStyle/>
        <a:p>
          <a:endParaRPr lang="en-US"/>
        </a:p>
      </dgm:t>
    </dgm:pt>
    <dgm:pt modelId="{83418F4A-D010-49DF-9170-CFF3F302EC2B}" type="sibTrans" cxnId="{9B5ABEC1-0E18-48B8-ABA9-8E726D18F74B}">
      <dgm:prSet/>
      <dgm:spPr/>
      <dgm:t>
        <a:bodyPr/>
        <a:lstStyle/>
        <a:p>
          <a:endParaRPr lang="en-US"/>
        </a:p>
      </dgm:t>
    </dgm:pt>
    <dgm:pt modelId="{615468AE-35CF-4761-8407-9B6AAE6A3317}" type="pres">
      <dgm:prSet presAssocID="{800DE1A1-9DF4-4142-9AAC-8B0A802EAFC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8FD4757-5BD6-4368-AC58-805E15B9DA26}" type="pres">
      <dgm:prSet presAssocID="{7DB81283-B597-46F3-BF65-1341D369E36F}" presName="parentText" presStyleLbl="node1" presStyleIdx="0" presStyleCnt="3" custScaleY="5276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02DF79-7496-400B-A7DF-3B6DE9320017}" type="pres">
      <dgm:prSet presAssocID="{05235073-2FEA-4F88-BFD0-9FEE0558C09C}" presName="spacer" presStyleCnt="0"/>
      <dgm:spPr/>
    </dgm:pt>
    <dgm:pt modelId="{2D7FD5A6-A3B4-4B3F-AE1B-50190733B690}" type="pres">
      <dgm:prSet presAssocID="{05DE540A-260A-49C9-ABCE-913D3AD48879}" presName="parentText" presStyleLbl="node1" presStyleIdx="1" presStyleCnt="3" custScaleY="3736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D50C92-B60F-4AB1-9175-25B1FB6B343F}" type="pres">
      <dgm:prSet presAssocID="{8063F7B3-43F5-4006-9694-091298E875C2}" presName="spacer" presStyleCnt="0"/>
      <dgm:spPr/>
    </dgm:pt>
    <dgm:pt modelId="{B00AECF3-5AF5-4C7B-823A-6D8831823200}" type="pres">
      <dgm:prSet presAssocID="{D6B97643-7250-4E1E-ADAF-DF43DECDEE3B}" presName="parentText" presStyleLbl="node1" presStyleIdx="2" presStyleCnt="3" custScaleY="3403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59C2B63-D12B-4FCB-9181-926C072C10AF}" srcId="{800DE1A1-9DF4-4142-9AAC-8B0A802EAFCF}" destId="{05DE540A-260A-49C9-ABCE-913D3AD48879}" srcOrd="1" destOrd="0" parTransId="{1DCDEDEE-4ADF-49C5-A44D-A55D541ED30E}" sibTransId="{8063F7B3-43F5-4006-9694-091298E875C2}"/>
    <dgm:cxn modelId="{9B5ABEC1-0E18-48B8-ABA9-8E726D18F74B}" srcId="{800DE1A1-9DF4-4142-9AAC-8B0A802EAFCF}" destId="{D6B97643-7250-4E1E-ADAF-DF43DECDEE3B}" srcOrd="2" destOrd="0" parTransId="{BE8FBF05-A31A-4126-AF6F-604756F7F52F}" sibTransId="{83418F4A-D010-49DF-9170-CFF3F302EC2B}"/>
    <dgm:cxn modelId="{16183D78-D153-4100-91BF-4B2CBB3C5980}" type="presOf" srcId="{7DB81283-B597-46F3-BF65-1341D369E36F}" destId="{78FD4757-5BD6-4368-AC58-805E15B9DA26}" srcOrd="0" destOrd="0" presId="urn:microsoft.com/office/officeart/2005/8/layout/vList2"/>
    <dgm:cxn modelId="{8694A0B0-5A30-4808-87D7-68B0C72D6A27}" type="presOf" srcId="{800DE1A1-9DF4-4142-9AAC-8B0A802EAFCF}" destId="{615468AE-35CF-4761-8407-9B6AAE6A3317}" srcOrd="0" destOrd="0" presId="urn:microsoft.com/office/officeart/2005/8/layout/vList2"/>
    <dgm:cxn modelId="{41E0C414-C5FC-4889-97D9-EE31515D4614}" type="presOf" srcId="{05DE540A-260A-49C9-ABCE-913D3AD48879}" destId="{2D7FD5A6-A3B4-4B3F-AE1B-50190733B690}" srcOrd="0" destOrd="0" presId="urn:microsoft.com/office/officeart/2005/8/layout/vList2"/>
    <dgm:cxn modelId="{1B650470-C618-4525-9E4C-14BD512F91B8}" srcId="{800DE1A1-9DF4-4142-9AAC-8B0A802EAFCF}" destId="{7DB81283-B597-46F3-BF65-1341D369E36F}" srcOrd="0" destOrd="0" parTransId="{416F227F-317A-49C6-B663-C899053B34EF}" sibTransId="{05235073-2FEA-4F88-BFD0-9FEE0558C09C}"/>
    <dgm:cxn modelId="{25A584E7-0689-4B00-B7A7-31C3005183AF}" type="presOf" srcId="{D6B97643-7250-4E1E-ADAF-DF43DECDEE3B}" destId="{B00AECF3-5AF5-4C7B-823A-6D8831823200}" srcOrd="0" destOrd="0" presId="urn:microsoft.com/office/officeart/2005/8/layout/vList2"/>
    <dgm:cxn modelId="{D1E5C477-6F13-4437-820A-9C6315A17C4C}" type="presParOf" srcId="{615468AE-35CF-4761-8407-9B6AAE6A3317}" destId="{78FD4757-5BD6-4368-AC58-805E15B9DA26}" srcOrd="0" destOrd="0" presId="urn:microsoft.com/office/officeart/2005/8/layout/vList2"/>
    <dgm:cxn modelId="{B7A7B141-219F-482D-AA70-8DBE3EF361EC}" type="presParOf" srcId="{615468AE-35CF-4761-8407-9B6AAE6A3317}" destId="{7802DF79-7496-400B-A7DF-3B6DE9320017}" srcOrd="1" destOrd="0" presId="urn:microsoft.com/office/officeart/2005/8/layout/vList2"/>
    <dgm:cxn modelId="{6B6D6350-C2DD-4626-9FD6-178E1B8E85C2}" type="presParOf" srcId="{615468AE-35CF-4761-8407-9B6AAE6A3317}" destId="{2D7FD5A6-A3B4-4B3F-AE1B-50190733B690}" srcOrd="2" destOrd="0" presId="urn:microsoft.com/office/officeart/2005/8/layout/vList2"/>
    <dgm:cxn modelId="{7918CB72-AD95-4E18-BD68-5B6B1AAC04EF}" type="presParOf" srcId="{615468AE-35CF-4761-8407-9B6AAE6A3317}" destId="{6BD50C92-B60F-4AB1-9175-25B1FB6B343F}" srcOrd="3" destOrd="0" presId="urn:microsoft.com/office/officeart/2005/8/layout/vList2"/>
    <dgm:cxn modelId="{E9D0B3DE-F9F0-422A-A409-DF2D0DDDD949}" type="presParOf" srcId="{615468AE-35CF-4761-8407-9B6AAE6A3317}" destId="{B00AECF3-5AF5-4C7B-823A-6D8831823200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6160F536-BBAB-497C-9307-FD6829025B6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D937E19-7648-46B8-853E-57AF9E37B95F}">
      <dgm:prSet/>
      <dgm:spPr/>
      <dgm:t>
        <a:bodyPr/>
        <a:lstStyle/>
        <a:p>
          <a:pPr rtl="0"/>
          <a:r>
            <a:rPr lang="en-US" b="1" u="sng" dirty="0" smtClean="0"/>
            <a:t>RVFD-Admin</a:t>
          </a:r>
          <a:endParaRPr lang="en-US" dirty="0"/>
        </a:p>
      </dgm:t>
    </dgm:pt>
    <dgm:pt modelId="{999DD054-A26B-4F5D-B459-882D8F093AF6}" type="parTrans" cxnId="{48345AC7-2682-4C00-81B1-75683D165881}">
      <dgm:prSet/>
      <dgm:spPr/>
      <dgm:t>
        <a:bodyPr/>
        <a:lstStyle/>
        <a:p>
          <a:endParaRPr lang="en-US"/>
        </a:p>
      </dgm:t>
    </dgm:pt>
    <dgm:pt modelId="{99932C11-F842-43F4-852C-6661349C9067}" type="sibTrans" cxnId="{48345AC7-2682-4C00-81B1-75683D165881}">
      <dgm:prSet/>
      <dgm:spPr/>
      <dgm:t>
        <a:bodyPr/>
        <a:lstStyle/>
        <a:p>
          <a:endParaRPr lang="en-US"/>
        </a:p>
      </dgm:t>
    </dgm:pt>
    <dgm:pt modelId="{F5AE50E3-96AB-4A96-B2DB-B59DEC99AF39}">
      <dgm:prSet/>
      <dgm:spPr/>
      <dgm:t>
        <a:bodyPr/>
        <a:lstStyle/>
        <a:p>
          <a:pPr rtl="0"/>
          <a:r>
            <a:rPr lang="en-US" b="1" u="sng" dirty="0" smtClean="0"/>
            <a:t>RVFD-Applicant</a:t>
          </a:r>
          <a:endParaRPr lang="en-US" dirty="0"/>
        </a:p>
      </dgm:t>
    </dgm:pt>
    <dgm:pt modelId="{3C81AA2A-4326-4A66-9C50-0D25A4044BE2}" type="parTrans" cxnId="{BED28430-DD09-4069-93D0-6FA1E3C86417}">
      <dgm:prSet/>
      <dgm:spPr/>
      <dgm:t>
        <a:bodyPr/>
        <a:lstStyle/>
        <a:p>
          <a:endParaRPr lang="en-US"/>
        </a:p>
      </dgm:t>
    </dgm:pt>
    <dgm:pt modelId="{B5C2A26D-244B-480B-B7B3-1FAB0164B0BF}" type="sibTrans" cxnId="{BED28430-DD09-4069-93D0-6FA1E3C86417}">
      <dgm:prSet/>
      <dgm:spPr/>
      <dgm:t>
        <a:bodyPr/>
        <a:lstStyle/>
        <a:p>
          <a:endParaRPr lang="en-US"/>
        </a:p>
      </dgm:t>
    </dgm:pt>
    <dgm:pt modelId="{CA00D97B-3437-41EA-977F-7D383DA7ADF9}">
      <dgm:prSet/>
      <dgm:spPr/>
      <dgm:t>
        <a:bodyPr/>
        <a:lstStyle/>
        <a:p>
          <a:pPr rtl="0"/>
          <a:r>
            <a:rPr lang="en-US" b="1" u="sng" smtClean="0"/>
            <a:t>RVFD-MAC(Members of Admission Committee)</a:t>
          </a:r>
          <a:endParaRPr lang="en-US"/>
        </a:p>
      </dgm:t>
    </dgm:pt>
    <dgm:pt modelId="{77D2D0B3-B9D8-4727-B41C-15FE7B48A6AB}" type="parTrans" cxnId="{F0630739-2060-48CF-AE64-C2F67C1BBEB2}">
      <dgm:prSet/>
      <dgm:spPr/>
      <dgm:t>
        <a:bodyPr/>
        <a:lstStyle/>
        <a:p>
          <a:endParaRPr lang="en-US"/>
        </a:p>
      </dgm:t>
    </dgm:pt>
    <dgm:pt modelId="{54C8BF03-6EF4-40BE-AD75-ADE9ECD81EF1}" type="sibTrans" cxnId="{F0630739-2060-48CF-AE64-C2F67C1BBEB2}">
      <dgm:prSet/>
      <dgm:spPr/>
      <dgm:t>
        <a:bodyPr/>
        <a:lstStyle/>
        <a:p>
          <a:endParaRPr lang="en-US"/>
        </a:p>
      </dgm:t>
    </dgm:pt>
    <dgm:pt modelId="{5199D5B7-E94F-4B8F-893A-20F8EABC4B77}" type="pres">
      <dgm:prSet presAssocID="{6160F536-BBAB-497C-9307-FD6829025B6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88C4BFD-E995-4780-970C-881E2E374468}" type="pres">
      <dgm:prSet presAssocID="{2D937E19-7648-46B8-853E-57AF9E37B95F}" presName="parentText" presStyleLbl="node1" presStyleIdx="0" presStyleCnt="3" custScaleY="1752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34C0A9-1E8A-4CCA-BBD3-41C69B9F2545}" type="pres">
      <dgm:prSet presAssocID="{99932C11-F842-43F4-852C-6661349C9067}" presName="spacer" presStyleCnt="0"/>
      <dgm:spPr/>
    </dgm:pt>
    <dgm:pt modelId="{9397AF0D-8474-4F77-A5DF-A5222075E22D}" type="pres">
      <dgm:prSet presAssocID="{F5AE50E3-96AB-4A96-B2DB-B59DEC99AF39}" presName="parentText" presStyleLbl="node1" presStyleIdx="1" presStyleCnt="3" custScaleY="1930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06FB05-5D98-4A06-9EAB-12CD04F8DCA0}" type="pres">
      <dgm:prSet presAssocID="{B5C2A26D-244B-480B-B7B3-1FAB0164B0BF}" presName="spacer" presStyleCnt="0"/>
      <dgm:spPr/>
    </dgm:pt>
    <dgm:pt modelId="{013CA7C3-1A8E-49D0-A344-E8BA37AC6670}" type="pres">
      <dgm:prSet presAssocID="{CA00D97B-3437-41EA-977F-7D383DA7ADF9}" presName="parentText" presStyleLbl="node1" presStyleIdx="2" presStyleCnt="3" custScaleY="1965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15919A1-BC3E-4E0E-B6FE-D95DCA511A85}" type="presOf" srcId="{6160F536-BBAB-497C-9307-FD6829025B62}" destId="{5199D5B7-E94F-4B8F-893A-20F8EABC4B77}" srcOrd="0" destOrd="0" presId="urn:microsoft.com/office/officeart/2005/8/layout/vList2"/>
    <dgm:cxn modelId="{A3C0D41A-9350-42AC-A048-2CB5B0DCE4B7}" type="presOf" srcId="{F5AE50E3-96AB-4A96-B2DB-B59DEC99AF39}" destId="{9397AF0D-8474-4F77-A5DF-A5222075E22D}" srcOrd="0" destOrd="0" presId="urn:microsoft.com/office/officeart/2005/8/layout/vList2"/>
    <dgm:cxn modelId="{9A56AC87-13E5-4F43-9885-DD2EE0FDF8B7}" type="presOf" srcId="{2D937E19-7648-46B8-853E-57AF9E37B95F}" destId="{488C4BFD-E995-4780-970C-881E2E374468}" srcOrd="0" destOrd="0" presId="urn:microsoft.com/office/officeart/2005/8/layout/vList2"/>
    <dgm:cxn modelId="{F0630739-2060-48CF-AE64-C2F67C1BBEB2}" srcId="{6160F536-BBAB-497C-9307-FD6829025B62}" destId="{CA00D97B-3437-41EA-977F-7D383DA7ADF9}" srcOrd="2" destOrd="0" parTransId="{77D2D0B3-B9D8-4727-B41C-15FE7B48A6AB}" sibTransId="{54C8BF03-6EF4-40BE-AD75-ADE9ECD81EF1}"/>
    <dgm:cxn modelId="{48345AC7-2682-4C00-81B1-75683D165881}" srcId="{6160F536-BBAB-497C-9307-FD6829025B62}" destId="{2D937E19-7648-46B8-853E-57AF9E37B95F}" srcOrd="0" destOrd="0" parTransId="{999DD054-A26B-4F5D-B459-882D8F093AF6}" sibTransId="{99932C11-F842-43F4-852C-6661349C9067}"/>
    <dgm:cxn modelId="{BF068C5C-D064-4951-B001-BD0DB04EF806}" type="presOf" srcId="{CA00D97B-3437-41EA-977F-7D383DA7ADF9}" destId="{013CA7C3-1A8E-49D0-A344-E8BA37AC6670}" srcOrd="0" destOrd="0" presId="urn:microsoft.com/office/officeart/2005/8/layout/vList2"/>
    <dgm:cxn modelId="{BED28430-DD09-4069-93D0-6FA1E3C86417}" srcId="{6160F536-BBAB-497C-9307-FD6829025B62}" destId="{F5AE50E3-96AB-4A96-B2DB-B59DEC99AF39}" srcOrd="1" destOrd="0" parTransId="{3C81AA2A-4326-4A66-9C50-0D25A4044BE2}" sibTransId="{B5C2A26D-244B-480B-B7B3-1FAB0164B0BF}"/>
    <dgm:cxn modelId="{48353502-C663-4D0D-8462-FF276840231F}" type="presParOf" srcId="{5199D5B7-E94F-4B8F-893A-20F8EABC4B77}" destId="{488C4BFD-E995-4780-970C-881E2E374468}" srcOrd="0" destOrd="0" presId="urn:microsoft.com/office/officeart/2005/8/layout/vList2"/>
    <dgm:cxn modelId="{B67D3B1B-480D-45FD-87CC-A686C15C8853}" type="presParOf" srcId="{5199D5B7-E94F-4B8F-893A-20F8EABC4B77}" destId="{6734C0A9-1E8A-4CCA-BBD3-41C69B9F2545}" srcOrd="1" destOrd="0" presId="urn:microsoft.com/office/officeart/2005/8/layout/vList2"/>
    <dgm:cxn modelId="{9BC9D127-A63B-4247-88D6-1DC109B02C70}" type="presParOf" srcId="{5199D5B7-E94F-4B8F-893A-20F8EABC4B77}" destId="{9397AF0D-8474-4F77-A5DF-A5222075E22D}" srcOrd="2" destOrd="0" presId="urn:microsoft.com/office/officeart/2005/8/layout/vList2"/>
    <dgm:cxn modelId="{159E2F7E-769C-4B18-8B9E-96F674C6127D}" type="presParOf" srcId="{5199D5B7-E94F-4B8F-893A-20F8EABC4B77}" destId="{5906FB05-5D98-4A06-9EAB-12CD04F8DCA0}" srcOrd="3" destOrd="0" presId="urn:microsoft.com/office/officeart/2005/8/layout/vList2"/>
    <dgm:cxn modelId="{9857B647-F8ED-41DC-BD13-997E06CC583B}" type="presParOf" srcId="{5199D5B7-E94F-4B8F-893A-20F8EABC4B77}" destId="{013CA7C3-1A8E-49D0-A344-E8BA37AC6670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5256A717-336B-4614-893D-BEA6DF7ABA2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5CEBFD3-A7C1-4E69-9697-BA789364DBF0}">
      <dgm:prSet custT="1"/>
      <dgm:spPr/>
      <dgm:t>
        <a:bodyPr/>
        <a:lstStyle/>
        <a:p>
          <a:pPr rtl="0"/>
          <a:r>
            <a:rPr lang="en-US" sz="3200" b="1" u="sng" dirty="0" smtClean="0"/>
            <a:t>Applicant</a:t>
          </a:r>
          <a:endParaRPr lang="en-US" sz="3200" dirty="0"/>
        </a:p>
      </dgm:t>
    </dgm:pt>
    <dgm:pt modelId="{6F20C745-1139-42B3-803A-88A5FC3A02E0}" type="parTrans" cxnId="{4D2A6600-C167-4BC9-B755-4FD5299EF480}">
      <dgm:prSet/>
      <dgm:spPr/>
      <dgm:t>
        <a:bodyPr/>
        <a:lstStyle/>
        <a:p>
          <a:endParaRPr lang="en-US"/>
        </a:p>
      </dgm:t>
    </dgm:pt>
    <dgm:pt modelId="{95D3CC97-E0F9-4C69-9C46-E58E32913431}" type="sibTrans" cxnId="{4D2A6600-C167-4BC9-B755-4FD5299EF480}">
      <dgm:prSet/>
      <dgm:spPr/>
      <dgm:t>
        <a:bodyPr/>
        <a:lstStyle/>
        <a:p>
          <a:endParaRPr lang="en-US"/>
        </a:p>
      </dgm:t>
    </dgm:pt>
    <dgm:pt modelId="{AFB6CD89-1E8C-4F8F-9379-48370F2FD35B}">
      <dgm:prSet custT="1"/>
      <dgm:spPr/>
      <dgm:t>
        <a:bodyPr/>
        <a:lstStyle/>
        <a:p>
          <a:pPr rtl="0"/>
          <a:r>
            <a:rPr lang="en-US" sz="2800" b="1" dirty="0" smtClean="0"/>
            <a:t>Applicant view program</a:t>
          </a:r>
          <a:endParaRPr lang="en-US" sz="2800" dirty="0"/>
        </a:p>
      </dgm:t>
    </dgm:pt>
    <dgm:pt modelId="{0B7A8AA1-8639-4307-855C-DCFB77686B68}" type="parTrans" cxnId="{83B0B995-63CF-4C08-B24D-AC1DC9413C23}">
      <dgm:prSet/>
      <dgm:spPr/>
      <dgm:t>
        <a:bodyPr/>
        <a:lstStyle/>
        <a:p>
          <a:endParaRPr lang="en-US"/>
        </a:p>
      </dgm:t>
    </dgm:pt>
    <dgm:pt modelId="{4B6A4130-C1C1-44D7-BCC4-F11910940128}" type="sibTrans" cxnId="{83B0B995-63CF-4C08-B24D-AC1DC9413C23}">
      <dgm:prSet/>
      <dgm:spPr/>
      <dgm:t>
        <a:bodyPr/>
        <a:lstStyle/>
        <a:p>
          <a:endParaRPr lang="en-US"/>
        </a:p>
      </dgm:t>
    </dgm:pt>
    <dgm:pt modelId="{635DE13A-6B09-47C7-B4F8-7D85DC02E79E}">
      <dgm:prSet custT="1"/>
      <dgm:spPr/>
      <dgm:t>
        <a:bodyPr/>
        <a:lstStyle/>
        <a:p>
          <a:pPr rtl="0"/>
          <a:r>
            <a:rPr lang="en-US" sz="2800" b="1" dirty="0" smtClean="0"/>
            <a:t>Applicant apply for Program</a:t>
          </a:r>
          <a:endParaRPr lang="en-US" sz="2800" dirty="0"/>
        </a:p>
      </dgm:t>
    </dgm:pt>
    <dgm:pt modelId="{52F0E252-B7D1-412A-8C15-27835C04C3BA}" type="parTrans" cxnId="{5E039D4B-8BF9-4FDC-8414-ADB9EF916683}">
      <dgm:prSet/>
      <dgm:spPr/>
      <dgm:t>
        <a:bodyPr/>
        <a:lstStyle/>
        <a:p>
          <a:endParaRPr lang="en-US"/>
        </a:p>
      </dgm:t>
    </dgm:pt>
    <dgm:pt modelId="{56427408-0860-4CB8-A359-8D32B6DD99AE}" type="sibTrans" cxnId="{5E039D4B-8BF9-4FDC-8414-ADB9EF916683}">
      <dgm:prSet/>
      <dgm:spPr/>
      <dgm:t>
        <a:bodyPr/>
        <a:lstStyle/>
        <a:p>
          <a:endParaRPr lang="en-US"/>
        </a:p>
      </dgm:t>
    </dgm:pt>
    <dgm:pt modelId="{32037839-9284-4992-B1E5-E4173757A623}">
      <dgm:prSet custT="1"/>
      <dgm:spPr/>
      <dgm:t>
        <a:bodyPr/>
        <a:lstStyle/>
        <a:p>
          <a:pPr rtl="0"/>
          <a:r>
            <a:rPr lang="en-US" sz="2800" b="1" dirty="0" smtClean="0"/>
            <a:t>Applicant Check Application Status</a:t>
          </a:r>
          <a:endParaRPr lang="en-US" sz="2800" dirty="0"/>
        </a:p>
      </dgm:t>
    </dgm:pt>
    <dgm:pt modelId="{7B67BE68-2801-49FB-9363-41FFABE73B9E}" type="parTrans" cxnId="{99E7ABFE-2563-4418-9DDE-5EE99A0E224F}">
      <dgm:prSet/>
      <dgm:spPr/>
      <dgm:t>
        <a:bodyPr/>
        <a:lstStyle/>
        <a:p>
          <a:endParaRPr lang="en-US"/>
        </a:p>
      </dgm:t>
    </dgm:pt>
    <dgm:pt modelId="{6D64B4EA-CD35-4652-80DD-F4BFA8F71EFE}" type="sibTrans" cxnId="{99E7ABFE-2563-4418-9DDE-5EE99A0E224F}">
      <dgm:prSet/>
      <dgm:spPr/>
      <dgm:t>
        <a:bodyPr/>
        <a:lstStyle/>
        <a:p>
          <a:endParaRPr lang="en-US"/>
        </a:p>
      </dgm:t>
    </dgm:pt>
    <dgm:pt modelId="{43D4F693-A068-43C2-A111-AADF2B588B27}" type="pres">
      <dgm:prSet presAssocID="{5256A717-336B-4614-893D-BEA6DF7ABA2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CB14377-58AA-4860-B69D-BE82F87EE58E}" type="pres">
      <dgm:prSet presAssocID="{D5CEBFD3-A7C1-4E69-9697-BA789364DBF0}" presName="parentText" presStyleLbl="node1" presStyleIdx="0" presStyleCnt="1" custScaleY="66209" custLinFactNeighborY="-6280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BC295B-39C8-45DE-B20E-FDD4D07F221A}" type="pres">
      <dgm:prSet presAssocID="{D5CEBFD3-A7C1-4E69-9697-BA789364DBF0}" presName="childText" presStyleLbl="revTx" presStyleIdx="0" presStyleCnt="1" custLinFactNeighborY="-7197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3B0B995-63CF-4C08-B24D-AC1DC9413C23}" srcId="{D5CEBFD3-A7C1-4E69-9697-BA789364DBF0}" destId="{AFB6CD89-1E8C-4F8F-9379-48370F2FD35B}" srcOrd="0" destOrd="0" parTransId="{0B7A8AA1-8639-4307-855C-DCFB77686B68}" sibTransId="{4B6A4130-C1C1-44D7-BCC4-F11910940128}"/>
    <dgm:cxn modelId="{4BC848DA-FDD0-4020-86B9-90AEDE40BD7B}" type="presOf" srcId="{AFB6CD89-1E8C-4F8F-9379-48370F2FD35B}" destId="{AABC295B-39C8-45DE-B20E-FDD4D07F221A}" srcOrd="0" destOrd="0" presId="urn:microsoft.com/office/officeart/2005/8/layout/vList2"/>
    <dgm:cxn modelId="{4D2A6600-C167-4BC9-B755-4FD5299EF480}" srcId="{5256A717-336B-4614-893D-BEA6DF7ABA2C}" destId="{D5CEBFD3-A7C1-4E69-9697-BA789364DBF0}" srcOrd="0" destOrd="0" parTransId="{6F20C745-1139-42B3-803A-88A5FC3A02E0}" sibTransId="{95D3CC97-E0F9-4C69-9C46-E58E32913431}"/>
    <dgm:cxn modelId="{95BA2E82-D5E6-4796-8F8E-82088C3499C8}" type="presOf" srcId="{D5CEBFD3-A7C1-4E69-9697-BA789364DBF0}" destId="{6CB14377-58AA-4860-B69D-BE82F87EE58E}" srcOrd="0" destOrd="0" presId="urn:microsoft.com/office/officeart/2005/8/layout/vList2"/>
    <dgm:cxn modelId="{6519C1EC-D80A-4C58-B2F4-5EF12C7A07D6}" type="presOf" srcId="{32037839-9284-4992-B1E5-E4173757A623}" destId="{AABC295B-39C8-45DE-B20E-FDD4D07F221A}" srcOrd="0" destOrd="2" presId="urn:microsoft.com/office/officeart/2005/8/layout/vList2"/>
    <dgm:cxn modelId="{5E039D4B-8BF9-4FDC-8414-ADB9EF916683}" srcId="{D5CEBFD3-A7C1-4E69-9697-BA789364DBF0}" destId="{635DE13A-6B09-47C7-B4F8-7D85DC02E79E}" srcOrd="1" destOrd="0" parTransId="{52F0E252-B7D1-412A-8C15-27835C04C3BA}" sibTransId="{56427408-0860-4CB8-A359-8D32B6DD99AE}"/>
    <dgm:cxn modelId="{F594660F-648D-4A14-8EAC-4CB16712DB86}" type="presOf" srcId="{635DE13A-6B09-47C7-B4F8-7D85DC02E79E}" destId="{AABC295B-39C8-45DE-B20E-FDD4D07F221A}" srcOrd="0" destOrd="1" presId="urn:microsoft.com/office/officeart/2005/8/layout/vList2"/>
    <dgm:cxn modelId="{99E7ABFE-2563-4418-9DDE-5EE99A0E224F}" srcId="{D5CEBFD3-A7C1-4E69-9697-BA789364DBF0}" destId="{32037839-9284-4992-B1E5-E4173757A623}" srcOrd="2" destOrd="0" parTransId="{7B67BE68-2801-49FB-9363-41FFABE73B9E}" sibTransId="{6D64B4EA-CD35-4652-80DD-F4BFA8F71EFE}"/>
    <dgm:cxn modelId="{73F23CAF-F1F2-433F-9941-95659583153E}" type="presOf" srcId="{5256A717-336B-4614-893D-BEA6DF7ABA2C}" destId="{43D4F693-A068-43C2-A111-AADF2B588B27}" srcOrd="0" destOrd="0" presId="urn:microsoft.com/office/officeart/2005/8/layout/vList2"/>
    <dgm:cxn modelId="{A4A8C7F8-FC8F-4F2A-8475-0C41059AF40D}" type="presParOf" srcId="{43D4F693-A068-43C2-A111-AADF2B588B27}" destId="{6CB14377-58AA-4860-B69D-BE82F87EE58E}" srcOrd="0" destOrd="0" presId="urn:microsoft.com/office/officeart/2005/8/layout/vList2"/>
    <dgm:cxn modelId="{D89AA62D-75F9-44F6-9064-001207070859}" type="presParOf" srcId="{43D4F693-A068-43C2-A111-AADF2B588B27}" destId="{AABC295B-39C8-45DE-B20E-FDD4D07F221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E000DA3E-4BC5-4361-A212-97156EE947D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8C2760-C57D-42D7-B10F-6EA5F7EED797}">
      <dgm:prSet custT="1"/>
      <dgm:spPr/>
      <dgm:t>
        <a:bodyPr/>
        <a:lstStyle/>
        <a:p>
          <a:pPr rtl="0"/>
          <a:r>
            <a:rPr lang="en-US" sz="3200" b="1" u="sng" dirty="0" smtClean="0"/>
            <a:t>Administrator</a:t>
          </a:r>
          <a:endParaRPr lang="en-US" sz="3200" dirty="0"/>
        </a:p>
      </dgm:t>
    </dgm:pt>
    <dgm:pt modelId="{0A7419A9-B0A5-4258-A549-F67033E42F83}" type="parTrans" cxnId="{38F5C0B6-BB7A-4A9F-A51E-ED567E82CC4B}">
      <dgm:prSet/>
      <dgm:spPr/>
      <dgm:t>
        <a:bodyPr/>
        <a:lstStyle/>
        <a:p>
          <a:endParaRPr lang="en-US"/>
        </a:p>
      </dgm:t>
    </dgm:pt>
    <dgm:pt modelId="{E601074E-1712-4441-B412-C6F81A2210F7}" type="sibTrans" cxnId="{38F5C0B6-BB7A-4A9F-A51E-ED567E82CC4B}">
      <dgm:prSet/>
      <dgm:spPr/>
      <dgm:t>
        <a:bodyPr/>
        <a:lstStyle/>
        <a:p>
          <a:endParaRPr lang="en-US"/>
        </a:p>
      </dgm:t>
    </dgm:pt>
    <dgm:pt modelId="{1FA95FA1-5405-4959-94CD-68AA7F0088FC}">
      <dgm:prSet custT="1"/>
      <dgm:spPr/>
      <dgm:t>
        <a:bodyPr/>
        <a:lstStyle/>
        <a:p>
          <a:pPr rtl="0"/>
          <a:r>
            <a:rPr lang="en-US" sz="2800" b="1" dirty="0" smtClean="0"/>
            <a:t>Admin view program</a:t>
          </a:r>
          <a:endParaRPr lang="en-US" sz="2800" dirty="0"/>
        </a:p>
      </dgm:t>
    </dgm:pt>
    <dgm:pt modelId="{F29E0985-940C-48B9-9E94-2C9C5AC49282}" type="parTrans" cxnId="{AC46ECA7-7629-46B0-B48E-1087E08653C1}">
      <dgm:prSet/>
      <dgm:spPr/>
      <dgm:t>
        <a:bodyPr/>
        <a:lstStyle/>
        <a:p>
          <a:endParaRPr lang="en-US"/>
        </a:p>
      </dgm:t>
    </dgm:pt>
    <dgm:pt modelId="{4CAA82E1-34FF-47D8-BBFF-5D3C9A6A9E71}" type="sibTrans" cxnId="{AC46ECA7-7629-46B0-B48E-1087E08653C1}">
      <dgm:prSet/>
      <dgm:spPr/>
      <dgm:t>
        <a:bodyPr/>
        <a:lstStyle/>
        <a:p>
          <a:endParaRPr lang="en-US"/>
        </a:p>
      </dgm:t>
    </dgm:pt>
    <dgm:pt modelId="{D9A7FB10-BDC6-4390-BC96-032C8B871166}">
      <dgm:prSet custT="1"/>
      <dgm:spPr/>
      <dgm:t>
        <a:bodyPr/>
        <a:lstStyle/>
        <a:p>
          <a:pPr rtl="0"/>
          <a:r>
            <a:rPr lang="en-US" sz="2800" b="1" dirty="0" smtClean="0"/>
            <a:t>Admin Add Program</a:t>
          </a:r>
          <a:endParaRPr lang="en-US" sz="2800" dirty="0"/>
        </a:p>
      </dgm:t>
    </dgm:pt>
    <dgm:pt modelId="{C623F44D-D7C6-4C54-BD11-B49C91B303B3}" type="parTrans" cxnId="{A118DF53-1F5C-43A8-93E8-705AF8D11FD4}">
      <dgm:prSet/>
      <dgm:spPr/>
      <dgm:t>
        <a:bodyPr/>
        <a:lstStyle/>
        <a:p>
          <a:endParaRPr lang="en-US"/>
        </a:p>
      </dgm:t>
    </dgm:pt>
    <dgm:pt modelId="{1F6F296B-6BFD-484D-93DE-EF0D7F454084}" type="sibTrans" cxnId="{A118DF53-1F5C-43A8-93E8-705AF8D11FD4}">
      <dgm:prSet/>
      <dgm:spPr/>
      <dgm:t>
        <a:bodyPr/>
        <a:lstStyle/>
        <a:p>
          <a:endParaRPr lang="en-US"/>
        </a:p>
      </dgm:t>
    </dgm:pt>
    <dgm:pt modelId="{F4486DAC-E1D7-4B3C-9E77-FA23B6B8941F}">
      <dgm:prSet custT="1"/>
      <dgm:spPr/>
      <dgm:t>
        <a:bodyPr/>
        <a:lstStyle/>
        <a:p>
          <a:pPr rtl="0"/>
          <a:r>
            <a:rPr lang="en-US" sz="2800" b="1" dirty="0" smtClean="0"/>
            <a:t>Admin Delete Program</a:t>
          </a:r>
          <a:endParaRPr lang="en-US" sz="2800" dirty="0"/>
        </a:p>
      </dgm:t>
    </dgm:pt>
    <dgm:pt modelId="{727605EE-5FF4-48AA-B598-955B198F8A19}" type="parTrans" cxnId="{2E1052B6-D376-46FF-80BB-BDE6AE12485C}">
      <dgm:prSet/>
      <dgm:spPr/>
      <dgm:t>
        <a:bodyPr/>
        <a:lstStyle/>
        <a:p>
          <a:endParaRPr lang="en-US"/>
        </a:p>
      </dgm:t>
    </dgm:pt>
    <dgm:pt modelId="{2FC67829-535D-476C-93C0-A154B41D0DAF}" type="sibTrans" cxnId="{2E1052B6-D376-46FF-80BB-BDE6AE12485C}">
      <dgm:prSet/>
      <dgm:spPr/>
      <dgm:t>
        <a:bodyPr/>
        <a:lstStyle/>
        <a:p>
          <a:endParaRPr lang="en-US"/>
        </a:p>
      </dgm:t>
    </dgm:pt>
    <dgm:pt modelId="{F09B09BB-E711-40B8-B44B-CD4284015FBF}">
      <dgm:prSet custT="1"/>
      <dgm:spPr/>
      <dgm:t>
        <a:bodyPr/>
        <a:lstStyle/>
        <a:p>
          <a:pPr rtl="0"/>
          <a:r>
            <a:rPr lang="en-US" sz="2800" b="1" dirty="0" smtClean="0"/>
            <a:t>Admin Generating Reports</a:t>
          </a:r>
          <a:endParaRPr lang="en-US" sz="2800" dirty="0"/>
        </a:p>
      </dgm:t>
    </dgm:pt>
    <dgm:pt modelId="{0ECE0E66-5A5A-4730-890A-4334BFE78289}" type="parTrans" cxnId="{FAD1F183-AADB-4911-AA5F-A98FA1224363}">
      <dgm:prSet/>
      <dgm:spPr/>
      <dgm:t>
        <a:bodyPr/>
        <a:lstStyle/>
        <a:p>
          <a:endParaRPr lang="en-US"/>
        </a:p>
      </dgm:t>
    </dgm:pt>
    <dgm:pt modelId="{BED60055-9156-4B59-877C-A0497268C66C}" type="sibTrans" cxnId="{FAD1F183-AADB-4911-AA5F-A98FA1224363}">
      <dgm:prSet/>
      <dgm:spPr/>
      <dgm:t>
        <a:bodyPr/>
        <a:lstStyle/>
        <a:p>
          <a:endParaRPr lang="en-US"/>
        </a:p>
      </dgm:t>
    </dgm:pt>
    <dgm:pt modelId="{69F9EFB9-1DAA-41CF-8DE8-FBB9930721C9}">
      <dgm:prSet custT="1"/>
      <dgm:spPr/>
      <dgm:t>
        <a:bodyPr/>
        <a:lstStyle/>
        <a:p>
          <a:pPr rtl="0"/>
          <a:r>
            <a:rPr lang="en-US" sz="2800" b="1" dirty="0" smtClean="0"/>
            <a:t>Admin Update program</a:t>
          </a:r>
          <a:endParaRPr lang="en-US" sz="2800" dirty="0"/>
        </a:p>
      </dgm:t>
    </dgm:pt>
    <dgm:pt modelId="{A1AF79CD-84F7-450A-9D25-9C24D968AFFB}" type="parTrans" cxnId="{5E6917F7-C216-4AF6-89F1-06F7D90E852E}">
      <dgm:prSet/>
      <dgm:spPr/>
      <dgm:t>
        <a:bodyPr/>
        <a:lstStyle/>
        <a:p>
          <a:endParaRPr lang="en-US"/>
        </a:p>
      </dgm:t>
    </dgm:pt>
    <dgm:pt modelId="{C4549505-639F-4AE0-A910-309C90DA64E2}" type="sibTrans" cxnId="{5E6917F7-C216-4AF6-89F1-06F7D90E852E}">
      <dgm:prSet/>
      <dgm:spPr/>
      <dgm:t>
        <a:bodyPr/>
        <a:lstStyle/>
        <a:p>
          <a:endParaRPr lang="en-US"/>
        </a:p>
      </dgm:t>
    </dgm:pt>
    <dgm:pt modelId="{0E2561AF-AE4A-4A1D-A719-FF4CAB09F5D3}" type="pres">
      <dgm:prSet presAssocID="{E000DA3E-4BC5-4361-A212-97156EE947D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BA56BC8-9597-42A6-BD90-01FA0345F0A6}" type="pres">
      <dgm:prSet presAssocID="{9E8C2760-C57D-42D7-B10F-6EA5F7EED797}" presName="parentText" presStyleLbl="node1" presStyleIdx="0" presStyleCnt="1" custScaleY="67956" custLinFactNeighborY="-2007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E70BDA-D1C6-4DF7-858B-7E1E6218F474}" type="pres">
      <dgm:prSet presAssocID="{9E8C2760-C57D-42D7-B10F-6EA5F7EED797}" presName="childText" presStyleLbl="revTx" presStyleIdx="0" presStyleCnt="1" custLinFactNeighborY="-390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E0B1796-9D77-49AC-AE52-37FCCBF4AE6E}" type="presOf" srcId="{69F9EFB9-1DAA-41CF-8DE8-FBB9930721C9}" destId="{02E70BDA-D1C6-4DF7-858B-7E1E6218F474}" srcOrd="0" destOrd="4" presId="urn:microsoft.com/office/officeart/2005/8/layout/vList2"/>
    <dgm:cxn modelId="{F40D7E0C-4C9C-4834-835A-EC6306C99973}" type="presOf" srcId="{D9A7FB10-BDC6-4390-BC96-032C8B871166}" destId="{02E70BDA-D1C6-4DF7-858B-7E1E6218F474}" srcOrd="0" destOrd="1" presId="urn:microsoft.com/office/officeart/2005/8/layout/vList2"/>
    <dgm:cxn modelId="{0D4FC597-A06F-4F44-BA1E-785E7E135AA2}" type="presOf" srcId="{F4486DAC-E1D7-4B3C-9E77-FA23B6B8941F}" destId="{02E70BDA-D1C6-4DF7-858B-7E1E6218F474}" srcOrd="0" destOrd="2" presId="urn:microsoft.com/office/officeart/2005/8/layout/vList2"/>
    <dgm:cxn modelId="{EB3A5773-1463-4E84-9F50-A3C1857559F5}" type="presOf" srcId="{9E8C2760-C57D-42D7-B10F-6EA5F7EED797}" destId="{1BA56BC8-9597-42A6-BD90-01FA0345F0A6}" srcOrd="0" destOrd="0" presId="urn:microsoft.com/office/officeart/2005/8/layout/vList2"/>
    <dgm:cxn modelId="{100B3371-3DFD-4779-90B3-9CD9E0F1BDBA}" type="presOf" srcId="{E000DA3E-4BC5-4361-A212-97156EE947DE}" destId="{0E2561AF-AE4A-4A1D-A719-FF4CAB09F5D3}" srcOrd="0" destOrd="0" presId="urn:microsoft.com/office/officeart/2005/8/layout/vList2"/>
    <dgm:cxn modelId="{2E1052B6-D376-46FF-80BB-BDE6AE12485C}" srcId="{9E8C2760-C57D-42D7-B10F-6EA5F7EED797}" destId="{F4486DAC-E1D7-4B3C-9E77-FA23B6B8941F}" srcOrd="2" destOrd="0" parTransId="{727605EE-5FF4-48AA-B598-955B198F8A19}" sibTransId="{2FC67829-535D-476C-93C0-A154B41D0DAF}"/>
    <dgm:cxn modelId="{AC46ECA7-7629-46B0-B48E-1087E08653C1}" srcId="{9E8C2760-C57D-42D7-B10F-6EA5F7EED797}" destId="{1FA95FA1-5405-4959-94CD-68AA7F0088FC}" srcOrd="0" destOrd="0" parTransId="{F29E0985-940C-48B9-9E94-2C9C5AC49282}" sibTransId="{4CAA82E1-34FF-47D8-BBFF-5D3C9A6A9E71}"/>
    <dgm:cxn modelId="{38F5C0B6-BB7A-4A9F-A51E-ED567E82CC4B}" srcId="{E000DA3E-4BC5-4361-A212-97156EE947DE}" destId="{9E8C2760-C57D-42D7-B10F-6EA5F7EED797}" srcOrd="0" destOrd="0" parTransId="{0A7419A9-B0A5-4258-A549-F67033E42F83}" sibTransId="{E601074E-1712-4441-B412-C6F81A2210F7}"/>
    <dgm:cxn modelId="{B8BDAEC2-0BE0-4DE9-B20A-74A365763C8A}" type="presOf" srcId="{F09B09BB-E711-40B8-B44B-CD4284015FBF}" destId="{02E70BDA-D1C6-4DF7-858B-7E1E6218F474}" srcOrd="0" destOrd="3" presId="urn:microsoft.com/office/officeart/2005/8/layout/vList2"/>
    <dgm:cxn modelId="{FAD1F183-AADB-4911-AA5F-A98FA1224363}" srcId="{9E8C2760-C57D-42D7-B10F-6EA5F7EED797}" destId="{F09B09BB-E711-40B8-B44B-CD4284015FBF}" srcOrd="3" destOrd="0" parTransId="{0ECE0E66-5A5A-4730-890A-4334BFE78289}" sibTransId="{BED60055-9156-4B59-877C-A0497268C66C}"/>
    <dgm:cxn modelId="{A118DF53-1F5C-43A8-93E8-705AF8D11FD4}" srcId="{9E8C2760-C57D-42D7-B10F-6EA5F7EED797}" destId="{D9A7FB10-BDC6-4390-BC96-032C8B871166}" srcOrd="1" destOrd="0" parTransId="{C623F44D-D7C6-4C54-BD11-B49C91B303B3}" sibTransId="{1F6F296B-6BFD-484D-93DE-EF0D7F454084}"/>
    <dgm:cxn modelId="{151FD525-D051-4465-AF2C-E1CD2A4885AB}" type="presOf" srcId="{1FA95FA1-5405-4959-94CD-68AA7F0088FC}" destId="{02E70BDA-D1C6-4DF7-858B-7E1E6218F474}" srcOrd="0" destOrd="0" presId="urn:microsoft.com/office/officeart/2005/8/layout/vList2"/>
    <dgm:cxn modelId="{5E6917F7-C216-4AF6-89F1-06F7D90E852E}" srcId="{9E8C2760-C57D-42D7-B10F-6EA5F7EED797}" destId="{69F9EFB9-1DAA-41CF-8DE8-FBB9930721C9}" srcOrd="4" destOrd="0" parTransId="{A1AF79CD-84F7-450A-9D25-9C24D968AFFB}" sibTransId="{C4549505-639F-4AE0-A910-309C90DA64E2}"/>
    <dgm:cxn modelId="{149F1C04-1FA1-4796-8EC5-E9226C07E327}" type="presParOf" srcId="{0E2561AF-AE4A-4A1D-A719-FF4CAB09F5D3}" destId="{1BA56BC8-9597-42A6-BD90-01FA0345F0A6}" srcOrd="0" destOrd="0" presId="urn:microsoft.com/office/officeart/2005/8/layout/vList2"/>
    <dgm:cxn modelId="{5E282247-BC1D-4E67-9C7A-ECDD8940629C}" type="presParOf" srcId="{0E2561AF-AE4A-4A1D-A719-FF4CAB09F5D3}" destId="{02E70BDA-D1C6-4DF7-858B-7E1E6218F474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8F400C6F-5801-49AE-A800-ABAC2A3A9A2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29D10C4-51FA-4D63-97B4-9F365B8D3B19}">
      <dgm:prSet custT="1"/>
      <dgm:spPr/>
      <dgm:t>
        <a:bodyPr/>
        <a:lstStyle/>
        <a:p>
          <a:pPr rtl="0"/>
          <a:r>
            <a:rPr lang="en-US" sz="3200" b="1" u="sng" dirty="0" smtClean="0"/>
            <a:t>MAC </a:t>
          </a:r>
          <a:r>
            <a:rPr lang="en-US" sz="3200" b="1" u="none" dirty="0" smtClean="0"/>
            <a:t>(Members of Admission Committee)</a:t>
          </a:r>
          <a:endParaRPr lang="en-US" sz="3200" u="none" dirty="0"/>
        </a:p>
      </dgm:t>
    </dgm:pt>
    <dgm:pt modelId="{9B5C5B63-A615-4735-B413-4F8C333E8BF5}" type="parTrans" cxnId="{495BE1A6-F943-4CE9-B1E8-71EFE039447E}">
      <dgm:prSet/>
      <dgm:spPr/>
      <dgm:t>
        <a:bodyPr/>
        <a:lstStyle/>
        <a:p>
          <a:endParaRPr lang="en-US"/>
        </a:p>
      </dgm:t>
    </dgm:pt>
    <dgm:pt modelId="{73734523-DB61-4815-9724-C505375B3648}" type="sibTrans" cxnId="{495BE1A6-F943-4CE9-B1E8-71EFE039447E}">
      <dgm:prSet/>
      <dgm:spPr/>
      <dgm:t>
        <a:bodyPr/>
        <a:lstStyle/>
        <a:p>
          <a:endParaRPr lang="en-US"/>
        </a:p>
      </dgm:t>
    </dgm:pt>
    <dgm:pt modelId="{4EF6CD34-0590-401F-9947-2A8971455467}">
      <dgm:prSet custT="1"/>
      <dgm:spPr/>
      <dgm:t>
        <a:bodyPr/>
        <a:lstStyle/>
        <a:p>
          <a:pPr rtl="0"/>
          <a:r>
            <a:rPr lang="en-US" sz="2800" b="1" dirty="0" smtClean="0"/>
            <a:t>MAC view program</a:t>
          </a:r>
          <a:endParaRPr lang="en-US" sz="2800" dirty="0"/>
        </a:p>
      </dgm:t>
    </dgm:pt>
    <dgm:pt modelId="{562F57A4-19DB-4EB9-B784-F1FEA15E4A39}" type="parTrans" cxnId="{C186F3B3-9BD8-45BD-BAE6-8A3134B0E2E3}">
      <dgm:prSet/>
      <dgm:spPr/>
      <dgm:t>
        <a:bodyPr/>
        <a:lstStyle/>
        <a:p>
          <a:endParaRPr lang="en-US"/>
        </a:p>
      </dgm:t>
    </dgm:pt>
    <dgm:pt modelId="{8C459950-F7E6-4893-9BCC-8A7545467F72}" type="sibTrans" cxnId="{C186F3B3-9BD8-45BD-BAE6-8A3134B0E2E3}">
      <dgm:prSet/>
      <dgm:spPr/>
      <dgm:t>
        <a:bodyPr/>
        <a:lstStyle/>
        <a:p>
          <a:endParaRPr lang="en-US"/>
        </a:p>
      </dgm:t>
    </dgm:pt>
    <dgm:pt modelId="{60E5E070-F501-4A28-82CB-EE7797AD7514}">
      <dgm:prSet custT="1"/>
      <dgm:spPr/>
      <dgm:t>
        <a:bodyPr/>
        <a:lstStyle/>
        <a:p>
          <a:pPr rtl="0"/>
          <a:r>
            <a:rPr lang="en-US" sz="2800" b="1" dirty="0" smtClean="0"/>
            <a:t>MAC Update Application Status</a:t>
          </a:r>
          <a:endParaRPr lang="en-US" sz="2800" dirty="0"/>
        </a:p>
      </dgm:t>
    </dgm:pt>
    <dgm:pt modelId="{0DF4BEF1-899A-4F7B-9EE8-7B8D9AA4764A}" type="parTrans" cxnId="{E0B29331-440D-4BCF-8437-0D124CFD9202}">
      <dgm:prSet/>
      <dgm:spPr/>
      <dgm:t>
        <a:bodyPr/>
        <a:lstStyle/>
        <a:p>
          <a:endParaRPr lang="en-US"/>
        </a:p>
      </dgm:t>
    </dgm:pt>
    <dgm:pt modelId="{B88771C4-0765-462B-843B-A4B7B92F7A1F}" type="sibTrans" cxnId="{E0B29331-440D-4BCF-8437-0D124CFD9202}">
      <dgm:prSet/>
      <dgm:spPr/>
      <dgm:t>
        <a:bodyPr/>
        <a:lstStyle/>
        <a:p>
          <a:endParaRPr lang="en-US"/>
        </a:p>
      </dgm:t>
    </dgm:pt>
    <dgm:pt modelId="{81EBCD84-03D4-4568-BC23-84CFDFA23A33}" type="pres">
      <dgm:prSet presAssocID="{8F400C6F-5801-49AE-A800-ABAC2A3A9A2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4653F78-D519-4D7D-A0B0-F3995B9A7B12}" type="pres">
      <dgm:prSet presAssocID="{229D10C4-51FA-4D63-97B4-9F365B8D3B19}" presName="parentText" presStyleLbl="node1" presStyleIdx="0" presStyleCnt="1" custScaleY="66101" custLinFactY="-39022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B015E2-6B76-490A-B49C-BD2C12866E7D}" type="pres">
      <dgm:prSet presAssocID="{229D10C4-51FA-4D63-97B4-9F365B8D3B19}" presName="childText" presStyleLbl="revTx" presStyleIdx="0" presStyleCnt="1" custLinFactY="-6683" custLinFactNeighborX="926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1827672-1543-4CDF-AD57-754267D1496C}" type="presOf" srcId="{60E5E070-F501-4A28-82CB-EE7797AD7514}" destId="{99B015E2-6B76-490A-B49C-BD2C12866E7D}" srcOrd="0" destOrd="1" presId="urn:microsoft.com/office/officeart/2005/8/layout/vList2"/>
    <dgm:cxn modelId="{C186F3B3-9BD8-45BD-BAE6-8A3134B0E2E3}" srcId="{229D10C4-51FA-4D63-97B4-9F365B8D3B19}" destId="{4EF6CD34-0590-401F-9947-2A8971455467}" srcOrd="0" destOrd="0" parTransId="{562F57A4-19DB-4EB9-B784-F1FEA15E4A39}" sibTransId="{8C459950-F7E6-4893-9BCC-8A7545467F72}"/>
    <dgm:cxn modelId="{4FE352E9-42F3-4BA2-96C8-018B026386B1}" type="presOf" srcId="{4EF6CD34-0590-401F-9947-2A8971455467}" destId="{99B015E2-6B76-490A-B49C-BD2C12866E7D}" srcOrd="0" destOrd="0" presId="urn:microsoft.com/office/officeart/2005/8/layout/vList2"/>
    <dgm:cxn modelId="{EEA779EA-5911-444D-94C1-20C4A2B43598}" type="presOf" srcId="{8F400C6F-5801-49AE-A800-ABAC2A3A9A29}" destId="{81EBCD84-03D4-4568-BC23-84CFDFA23A33}" srcOrd="0" destOrd="0" presId="urn:microsoft.com/office/officeart/2005/8/layout/vList2"/>
    <dgm:cxn modelId="{A22FEE69-E4BD-4492-841C-510CB67E4E80}" type="presOf" srcId="{229D10C4-51FA-4D63-97B4-9F365B8D3B19}" destId="{E4653F78-D519-4D7D-A0B0-F3995B9A7B12}" srcOrd="0" destOrd="0" presId="urn:microsoft.com/office/officeart/2005/8/layout/vList2"/>
    <dgm:cxn modelId="{495BE1A6-F943-4CE9-B1E8-71EFE039447E}" srcId="{8F400C6F-5801-49AE-A800-ABAC2A3A9A29}" destId="{229D10C4-51FA-4D63-97B4-9F365B8D3B19}" srcOrd="0" destOrd="0" parTransId="{9B5C5B63-A615-4735-B413-4F8C333E8BF5}" sibTransId="{73734523-DB61-4815-9724-C505375B3648}"/>
    <dgm:cxn modelId="{E0B29331-440D-4BCF-8437-0D124CFD9202}" srcId="{229D10C4-51FA-4D63-97B4-9F365B8D3B19}" destId="{60E5E070-F501-4A28-82CB-EE7797AD7514}" srcOrd="1" destOrd="0" parTransId="{0DF4BEF1-899A-4F7B-9EE8-7B8D9AA4764A}" sibTransId="{B88771C4-0765-462B-843B-A4B7B92F7A1F}"/>
    <dgm:cxn modelId="{19A0234A-CE13-4BC0-AFDA-4974569544ED}" type="presParOf" srcId="{81EBCD84-03D4-4568-BC23-84CFDFA23A33}" destId="{E4653F78-D519-4D7D-A0B0-F3995B9A7B12}" srcOrd="0" destOrd="0" presId="urn:microsoft.com/office/officeart/2005/8/layout/vList2"/>
    <dgm:cxn modelId="{053FDF82-A8F5-4B92-BBBC-7629874D2B23}" type="presParOf" srcId="{81EBCD84-03D4-4568-BC23-84CFDFA23A33}" destId="{99B015E2-6B76-490A-B49C-BD2C12866E7D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30497AF6-22CA-441E-B7DB-C5AD3642097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EA98E80-14AC-405C-A49C-6498F9C8B4BC}">
      <dgm:prSet/>
      <dgm:spPr/>
      <dgm:t>
        <a:bodyPr/>
        <a:lstStyle/>
        <a:p>
          <a:pPr rtl="0"/>
          <a:r>
            <a:rPr lang="en-US" b="1" u="sng" dirty="0" smtClean="0"/>
            <a:t>Test Case Adequacy:  </a:t>
          </a:r>
          <a:r>
            <a:rPr lang="en-US" b="1" dirty="0" smtClean="0"/>
            <a:t>Defines the number of actual test cases created vs estimated test cases at the end of test case preparation phase.</a:t>
          </a:r>
          <a:endParaRPr lang="en-US" dirty="0"/>
        </a:p>
      </dgm:t>
    </dgm:pt>
    <dgm:pt modelId="{171B9512-19A6-4AC9-9AB4-C17B242CCAEE}" type="parTrans" cxnId="{D4B29F11-3732-47D7-894E-28A942B0A69F}">
      <dgm:prSet/>
      <dgm:spPr/>
      <dgm:t>
        <a:bodyPr/>
        <a:lstStyle/>
        <a:p>
          <a:endParaRPr lang="en-US"/>
        </a:p>
      </dgm:t>
    </dgm:pt>
    <dgm:pt modelId="{D2A3181A-EA39-48AD-953B-993747FC7DF3}" type="sibTrans" cxnId="{D4B29F11-3732-47D7-894E-28A942B0A69F}">
      <dgm:prSet/>
      <dgm:spPr/>
      <dgm:t>
        <a:bodyPr/>
        <a:lstStyle/>
        <a:p>
          <a:endParaRPr lang="en-US"/>
        </a:p>
      </dgm:t>
    </dgm:pt>
    <dgm:pt modelId="{F9AE29BE-8430-4A60-8168-F8FF55AFED1D}">
      <dgm:prSet/>
      <dgm:spPr/>
      <dgm:t>
        <a:bodyPr/>
        <a:lstStyle/>
        <a:p>
          <a:pPr rtl="0"/>
          <a:r>
            <a:rPr lang="en-US" b="1" u="sng" dirty="0" smtClean="0"/>
            <a:t>Test Case Adequacy </a:t>
          </a:r>
          <a:r>
            <a:rPr lang="en-US" b="1" u="none" dirty="0" smtClean="0"/>
            <a:t>    </a:t>
          </a:r>
          <a:r>
            <a:rPr lang="en-US" b="1" dirty="0" smtClean="0"/>
            <a:t>=              Number of Actual test cases *100</a:t>
          </a:r>
        </a:p>
        <a:p>
          <a:pPr rtl="0"/>
          <a:r>
            <a:rPr lang="en-US" b="1" dirty="0" smtClean="0"/>
            <a:t>			           Number of Test cases estimated</a:t>
          </a:r>
          <a:endParaRPr lang="en-US" dirty="0"/>
        </a:p>
      </dgm:t>
    </dgm:pt>
    <dgm:pt modelId="{3DFB0679-8B02-47B7-B361-88E36E2C7236}" type="parTrans" cxnId="{5FC1A86B-466D-4299-BC85-EBE0255E5060}">
      <dgm:prSet/>
      <dgm:spPr/>
      <dgm:t>
        <a:bodyPr/>
        <a:lstStyle/>
        <a:p>
          <a:endParaRPr lang="en-US"/>
        </a:p>
      </dgm:t>
    </dgm:pt>
    <dgm:pt modelId="{3591519E-4140-4BC6-A272-7A01C10F8141}" type="sibTrans" cxnId="{5FC1A86B-466D-4299-BC85-EBE0255E5060}">
      <dgm:prSet/>
      <dgm:spPr/>
      <dgm:t>
        <a:bodyPr/>
        <a:lstStyle/>
        <a:p>
          <a:endParaRPr lang="en-US"/>
        </a:p>
      </dgm:t>
    </dgm:pt>
    <dgm:pt modelId="{B5AA730E-9EED-4981-BB12-95E2B4E786B0}">
      <dgm:prSet/>
      <dgm:spPr/>
      <dgm:t>
        <a:bodyPr/>
        <a:lstStyle/>
        <a:p>
          <a:pPr rtl="0"/>
          <a:endParaRPr lang="en-US" dirty="0"/>
        </a:p>
      </dgm:t>
    </dgm:pt>
    <dgm:pt modelId="{AB7C3CB4-DEA4-4263-B65C-06704A3A62DF}" type="parTrans" cxnId="{113F1080-C1FE-46F4-B0A1-57FD2737E086}">
      <dgm:prSet/>
      <dgm:spPr/>
      <dgm:t>
        <a:bodyPr/>
        <a:lstStyle/>
        <a:p>
          <a:endParaRPr lang="en-US"/>
        </a:p>
      </dgm:t>
    </dgm:pt>
    <dgm:pt modelId="{1660F7A5-9404-488D-81DA-2497D693F935}" type="sibTrans" cxnId="{113F1080-C1FE-46F4-B0A1-57FD2737E086}">
      <dgm:prSet/>
      <dgm:spPr/>
      <dgm:t>
        <a:bodyPr/>
        <a:lstStyle/>
        <a:p>
          <a:endParaRPr lang="en-US"/>
        </a:p>
      </dgm:t>
    </dgm:pt>
    <dgm:pt modelId="{7CC6B06D-125D-4537-9E6C-730397B91119}">
      <dgm:prSet/>
      <dgm:spPr/>
      <dgm:t>
        <a:bodyPr/>
        <a:lstStyle/>
        <a:p>
          <a:pPr rtl="0"/>
          <a:r>
            <a:rPr lang="en-US" b="1" u="sng" dirty="0" smtClean="0"/>
            <a:t>Test Case Adequacy </a:t>
          </a:r>
          <a:r>
            <a:rPr lang="en-US" b="1" dirty="0" smtClean="0"/>
            <a:t>= 138    =  0.69</a:t>
          </a:r>
        </a:p>
        <a:p>
          <a:pPr rtl="0"/>
          <a:r>
            <a:rPr lang="en-US" dirty="0" smtClean="0"/>
            <a:t>		         </a:t>
          </a:r>
          <a:r>
            <a:rPr lang="en-US" b="1" dirty="0" smtClean="0"/>
            <a:t>200</a:t>
          </a:r>
          <a:endParaRPr lang="en-US" b="1" dirty="0"/>
        </a:p>
      </dgm:t>
    </dgm:pt>
    <dgm:pt modelId="{0FA19C14-01D1-4A9A-8CE0-1E7BCE390C16}" type="parTrans" cxnId="{674839AC-380B-4D2A-9C79-5FB7D82D7660}">
      <dgm:prSet/>
      <dgm:spPr/>
      <dgm:t>
        <a:bodyPr/>
        <a:lstStyle/>
        <a:p>
          <a:endParaRPr lang="en-US"/>
        </a:p>
      </dgm:t>
    </dgm:pt>
    <dgm:pt modelId="{BF67700A-0CB9-4BA4-874F-97A7C9CF4708}" type="sibTrans" cxnId="{674839AC-380B-4D2A-9C79-5FB7D82D7660}">
      <dgm:prSet/>
      <dgm:spPr/>
      <dgm:t>
        <a:bodyPr/>
        <a:lstStyle/>
        <a:p>
          <a:endParaRPr lang="en-US"/>
        </a:p>
      </dgm:t>
    </dgm:pt>
    <dgm:pt modelId="{11F43FFB-BB82-4694-8089-C29EDFF463CA}">
      <dgm:prSet/>
      <dgm:spPr/>
      <dgm:t>
        <a:bodyPr/>
        <a:lstStyle/>
        <a:p>
          <a:pPr rtl="0"/>
          <a:endParaRPr lang="en-US" dirty="0"/>
        </a:p>
      </dgm:t>
    </dgm:pt>
    <dgm:pt modelId="{C2982905-304C-4ED9-B184-EA216D92C369}" type="parTrans" cxnId="{7F1E7216-A72E-499C-8FD4-607C8F8683A4}">
      <dgm:prSet/>
      <dgm:spPr/>
      <dgm:t>
        <a:bodyPr/>
        <a:lstStyle/>
        <a:p>
          <a:endParaRPr lang="en-US"/>
        </a:p>
      </dgm:t>
    </dgm:pt>
    <dgm:pt modelId="{FCD449A0-B77D-4C6B-B118-8D1BEDFCBB02}" type="sibTrans" cxnId="{7F1E7216-A72E-499C-8FD4-607C8F8683A4}">
      <dgm:prSet/>
      <dgm:spPr/>
      <dgm:t>
        <a:bodyPr/>
        <a:lstStyle/>
        <a:p>
          <a:endParaRPr lang="en-US"/>
        </a:p>
      </dgm:t>
    </dgm:pt>
    <dgm:pt modelId="{03818DC8-1EEC-4C70-A58C-3DD58B9D28C8}" type="pres">
      <dgm:prSet presAssocID="{30497AF6-22CA-441E-B7DB-C5AD3642097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3B89038-8B93-4DA7-B43C-17DD1F337AE5}" type="pres">
      <dgm:prSet presAssocID="{CEA98E80-14AC-405C-A49C-6498F9C8B4BC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D5099F-B98B-4FD2-AA6D-152330B48A43}" type="pres">
      <dgm:prSet presAssocID="{D2A3181A-EA39-48AD-953B-993747FC7DF3}" presName="spacer" presStyleCnt="0"/>
      <dgm:spPr/>
    </dgm:pt>
    <dgm:pt modelId="{598971A4-6C5C-4FA0-9D0D-27355ABFE29F}" type="pres">
      <dgm:prSet presAssocID="{F9AE29BE-8430-4A60-8168-F8FF55AFED1D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267543-363D-4489-B34A-D7CA618252D8}" type="pres">
      <dgm:prSet presAssocID="{F9AE29BE-8430-4A60-8168-F8FF55AFED1D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D234FD-B5A6-4B9E-9A71-83E23F3AD700}" type="pres">
      <dgm:prSet presAssocID="{7CC6B06D-125D-4537-9E6C-730397B91119}" presName="parentText" presStyleLbl="node1" presStyleIdx="2" presStyleCnt="3" custLinFactNeighborY="-6383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6238C6-2BC2-483E-BF83-93F1DFFD4537}" type="pres">
      <dgm:prSet presAssocID="{7CC6B06D-125D-4537-9E6C-730397B91119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C45AFCC-AB52-434F-9E39-404E4F7B9B2C}" type="presOf" srcId="{B5AA730E-9EED-4981-BB12-95E2B4E786B0}" destId="{6F267543-363D-4489-B34A-D7CA618252D8}" srcOrd="0" destOrd="0" presId="urn:microsoft.com/office/officeart/2005/8/layout/vList2"/>
    <dgm:cxn modelId="{D4B29F11-3732-47D7-894E-28A942B0A69F}" srcId="{30497AF6-22CA-441E-B7DB-C5AD36420978}" destId="{CEA98E80-14AC-405C-A49C-6498F9C8B4BC}" srcOrd="0" destOrd="0" parTransId="{171B9512-19A6-4AC9-9AB4-C17B242CCAEE}" sibTransId="{D2A3181A-EA39-48AD-953B-993747FC7DF3}"/>
    <dgm:cxn modelId="{7C47A130-F05F-4C86-ACE0-40AB47EE79F3}" type="presOf" srcId="{11F43FFB-BB82-4694-8089-C29EDFF463CA}" destId="{F56238C6-2BC2-483E-BF83-93F1DFFD4537}" srcOrd="0" destOrd="0" presId="urn:microsoft.com/office/officeart/2005/8/layout/vList2"/>
    <dgm:cxn modelId="{A967C080-A62E-4CD0-8AA2-38C5A20EB9AC}" type="presOf" srcId="{CEA98E80-14AC-405C-A49C-6498F9C8B4BC}" destId="{83B89038-8B93-4DA7-B43C-17DD1F337AE5}" srcOrd="0" destOrd="0" presId="urn:microsoft.com/office/officeart/2005/8/layout/vList2"/>
    <dgm:cxn modelId="{E130554A-499E-4E60-AA9F-B157FD6DFAC1}" type="presOf" srcId="{30497AF6-22CA-441E-B7DB-C5AD36420978}" destId="{03818DC8-1EEC-4C70-A58C-3DD58B9D28C8}" srcOrd="0" destOrd="0" presId="urn:microsoft.com/office/officeart/2005/8/layout/vList2"/>
    <dgm:cxn modelId="{7F1E7216-A72E-499C-8FD4-607C8F8683A4}" srcId="{7CC6B06D-125D-4537-9E6C-730397B91119}" destId="{11F43FFB-BB82-4694-8089-C29EDFF463CA}" srcOrd="0" destOrd="0" parTransId="{C2982905-304C-4ED9-B184-EA216D92C369}" sibTransId="{FCD449A0-B77D-4C6B-B118-8D1BEDFCBB02}"/>
    <dgm:cxn modelId="{674839AC-380B-4D2A-9C79-5FB7D82D7660}" srcId="{30497AF6-22CA-441E-B7DB-C5AD36420978}" destId="{7CC6B06D-125D-4537-9E6C-730397B91119}" srcOrd="2" destOrd="0" parTransId="{0FA19C14-01D1-4A9A-8CE0-1E7BCE390C16}" sibTransId="{BF67700A-0CB9-4BA4-874F-97A7C9CF4708}"/>
    <dgm:cxn modelId="{AD74D07F-7F2B-46AA-B863-9FFF77AC2D3B}" type="presOf" srcId="{7CC6B06D-125D-4537-9E6C-730397B91119}" destId="{DAD234FD-B5A6-4B9E-9A71-83E23F3AD700}" srcOrd="0" destOrd="0" presId="urn:microsoft.com/office/officeart/2005/8/layout/vList2"/>
    <dgm:cxn modelId="{FFE63F25-1596-466C-B25A-54A4F55321A4}" type="presOf" srcId="{F9AE29BE-8430-4A60-8168-F8FF55AFED1D}" destId="{598971A4-6C5C-4FA0-9D0D-27355ABFE29F}" srcOrd="0" destOrd="0" presId="urn:microsoft.com/office/officeart/2005/8/layout/vList2"/>
    <dgm:cxn modelId="{113F1080-C1FE-46F4-B0A1-57FD2737E086}" srcId="{F9AE29BE-8430-4A60-8168-F8FF55AFED1D}" destId="{B5AA730E-9EED-4981-BB12-95E2B4E786B0}" srcOrd="0" destOrd="0" parTransId="{AB7C3CB4-DEA4-4263-B65C-06704A3A62DF}" sibTransId="{1660F7A5-9404-488D-81DA-2497D693F935}"/>
    <dgm:cxn modelId="{5FC1A86B-466D-4299-BC85-EBE0255E5060}" srcId="{30497AF6-22CA-441E-B7DB-C5AD36420978}" destId="{F9AE29BE-8430-4A60-8168-F8FF55AFED1D}" srcOrd="1" destOrd="0" parTransId="{3DFB0679-8B02-47B7-B361-88E36E2C7236}" sibTransId="{3591519E-4140-4BC6-A272-7A01C10F8141}"/>
    <dgm:cxn modelId="{DBD93FEB-B5FB-4B99-8E89-AABD9C8BD5C0}" type="presParOf" srcId="{03818DC8-1EEC-4C70-A58C-3DD58B9D28C8}" destId="{83B89038-8B93-4DA7-B43C-17DD1F337AE5}" srcOrd="0" destOrd="0" presId="urn:microsoft.com/office/officeart/2005/8/layout/vList2"/>
    <dgm:cxn modelId="{196DF0E2-0215-4178-9E7F-5DF493DEFF62}" type="presParOf" srcId="{03818DC8-1EEC-4C70-A58C-3DD58B9D28C8}" destId="{91D5099F-B98B-4FD2-AA6D-152330B48A43}" srcOrd="1" destOrd="0" presId="urn:microsoft.com/office/officeart/2005/8/layout/vList2"/>
    <dgm:cxn modelId="{CE52AB34-D465-4739-AD5D-49F4CD77E8A2}" type="presParOf" srcId="{03818DC8-1EEC-4C70-A58C-3DD58B9D28C8}" destId="{598971A4-6C5C-4FA0-9D0D-27355ABFE29F}" srcOrd="2" destOrd="0" presId="urn:microsoft.com/office/officeart/2005/8/layout/vList2"/>
    <dgm:cxn modelId="{70033E5C-0727-48A5-85E9-866024F544D2}" type="presParOf" srcId="{03818DC8-1EEC-4C70-A58C-3DD58B9D28C8}" destId="{6F267543-363D-4489-B34A-D7CA618252D8}" srcOrd="3" destOrd="0" presId="urn:microsoft.com/office/officeart/2005/8/layout/vList2"/>
    <dgm:cxn modelId="{07B65DCE-FE1B-41C7-8F4A-586F66BD6FCB}" type="presParOf" srcId="{03818DC8-1EEC-4C70-A58C-3DD58B9D28C8}" destId="{DAD234FD-B5A6-4B9E-9A71-83E23F3AD700}" srcOrd="4" destOrd="0" presId="urn:microsoft.com/office/officeart/2005/8/layout/vList2"/>
    <dgm:cxn modelId="{A5CE58F0-FA05-4876-B854-9DF687632933}" type="presParOf" srcId="{03818DC8-1EEC-4C70-A58C-3DD58B9D28C8}" destId="{F56238C6-2BC2-483E-BF83-93F1DFFD4537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F71E1B26-35CB-4510-8065-670EEB956B5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1951D89-82BD-4710-AFBD-95961F30BD35}">
      <dgm:prSet/>
      <dgm:spPr/>
      <dgm:t>
        <a:bodyPr/>
        <a:lstStyle/>
        <a:p>
          <a:pPr rtl="0"/>
          <a:r>
            <a:rPr lang="en-US" b="1" u="sng" dirty="0" smtClean="0"/>
            <a:t>Test Case Effectiveness:  </a:t>
          </a:r>
          <a:r>
            <a:rPr lang="en-US" b="1" dirty="0" smtClean="0"/>
            <a:t>This Defines the effectiveness of test cases which is measured in number of defects found in testing without using the test cases.</a:t>
          </a:r>
          <a:endParaRPr lang="en-US" dirty="0"/>
        </a:p>
      </dgm:t>
    </dgm:pt>
    <dgm:pt modelId="{B5FD08B3-D58B-4747-AAB6-E5276AC7DF2A}" type="parTrans" cxnId="{923E47EC-0E24-416F-8DD9-C3BC4216A9F0}">
      <dgm:prSet/>
      <dgm:spPr/>
      <dgm:t>
        <a:bodyPr/>
        <a:lstStyle/>
        <a:p>
          <a:endParaRPr lang="en-US"/>
        </a:p>
      </dgm:t>
    </dgm:pt>
    <dgm:pt modelId="{426E846A-A6AF-4791-A5EA-09DC697ED41D}" type="sibTrans" cxnId="{923E47EC-0E24-416F-8DD9-C3BC4216A9F0}">
      <dgm:prSet/>
      <dgm:spPr/>
      <dgm:t>
        <a:bodyPr/>
        <a:lstStyle/>
        <a:p>
          <a:endParaRPr lang="en-US"/>
        </a:p>
      </dgm:t>
    </dgm:pt>
    <dgm:pt modelId="{460E9B20-F33C-4C9E-BBEE-6575233C090F}">
      <dgm:prSet/>
      <dgm:spPr/>
      <dgm:t>
        <a:bodyPr/>
        <a:lstStyle/>
        <a:p>
          <a:pPr rtl="0"/>
          <a:r>
            <a:rPr lang="en-US" b="1" u="sng" dirty="0" smtClean="0"/>
            <a:t>Test Case Effectiveness </a:t>
          </a:r>
          <a:r>
            <a:rPr lang="en-US" b="1" dirty="0" smtClean="0"/>
            <a:t>= No. of Defects detected using test cases* 100</a:t>
          </a:r>
        </a:p>
        <a:p>
          <a:pPr rtl="0"/>
          <a:r>
            <a:rPr lang="en-US" b="1" dirty="0" smtClean="0"/>
            <a:t>			Total No. of Defects detected in testing</a:t>
          </a:r>
          <a:endParaRPr lang="en-US" b="1" dirty="0"/>
        </a:p>
      </dgm:t>
    </dgm:pt>
    <dgm:pt modelId="{3F363822-5344-4451-B99C-0A73335C52D1}" type="parTrans" cxnId="{E82D4546-CB0A-473D-8874-33131060E123}">
      <dgm:prSet/>
      <dgm:spPr/>
      <dgm:t>
        <a:bodyPr/>
        <a:lstStyle/>
        <a:p>
          <a:endParaRPr lang="en-US"/>
        </a:p>
      </dgm:t>
    </dgm:pt>
    <dgm:pt modelId="{A4B9DDBB-963F-4058-9FED-9180D9BD4EAD}" type="sibTrans" cxnId="{E82D4546-CB0A-473D-8874-33131060E123}">
      <dgm:prSet/>
      <dgm:spPr/>
      <dgm:t>
        <a:bodyPr/>
        <a:lstStyle/>
        <a:p>
          <a:endParaRPr lang="en-US"/>
        </a:p>
      </dgm:t>
    </dgm:pt>
    <dgm:pt modelId="{757CCEA5-4B2D-4495-A14E-08F74B21180E}">
      <dgm:prSet/>
      <dgm:spPr/>
      <dgm:t>
        <a:bodyPr/>
        <a:lstStyle/>
        <a:p>
          <a:pPr rtl="0"/>
          <a:endParaRPr lang="en-US" dirty="0"/>
        </a:p>
      </dgm:t>
    </dgm:pt>
    <dgm:pt modelId="{6E4356D9-932A-4075-99AA-AAF6A5259A82}" type="parTrans" cxnId="{54BE3E66-5D00-4DA1-B518-F9CD44C63A60}">
      <dgm:prSet/>
      <dgm:spPr/>
      <dgm:t>
        <a:bodyPr/>
        <a:lstStyle/>
        <a:p>
          <a:endParaRPr lang="en-US"/>
        </a:p>
      </dgm:t>
    </dgm:pt>
    <dgm:pt modelId="{99581D4B-352A-4D87-8069-F13730C407D7}" type="sibTrans" cxnId="{54BE3E66-5D00-4DA1-B518-F9CD44C63A60}">
      <dgm:prSet/>
      <dgm:spPr/>
      <dgm:t>
        <a:bodyPr/>
        <a:lstStyle/>
        <a:p>
          <a:endParaRPr lang="en-US"/>
        </a:p>
      </dgm:t>
    </dgm:pt>
    <dgm:pt modelId="{B5B43F22-57B0-4DAE-8E67-22810CE6A84A}">
      <dgm:prSet/>
      <dgm:spPr/>
      <dgm:t>
        <a:bodyPr/>
        <a:lstStyle/>
        <a:p>
          <a:pPr rtl="0"/>
          <a:r>
            <a:rPr lang="en-US" b="1" u="sng" dirty="0" smtClean="0"/>
            <a:t>Test Case Efficiency</a:t>
          </a:r>
          <a:r>
            <a:rPr lang="en-US" b="1" dirty="0" smtClean="0"/>
            <a:t> = 7 * 100  =77.77</a:t>
          </a:r>
        </a:p>
        <a:p>
          <a:pPr rtl="0"/>
          <a:r>
            <a:rPr lang="en-US" b="1" dirty="0" smtClean="0"/>
            <a:t>		             9</a:t>
          </a:r>
        </a:p>
      </dgm:t>
    </dgm:pt>
    <dgm:pt modelId="{D1B03125-607B-449E-B28E-D6DAD70272CE}" type="parTrans" cxnId="{E4FF93DF-A9E1-41B0-9711-429E7E65C141}">
      <dgm:prSet/>
      <dgm:spPr/>
      <dgm:t>
        <a:bodyPr/>
        <a:lstStyle/>
        <a:p>
          <a:endParaRPr lang="en-US"/>
        </a:p>
      </dgm:t>
    </dgm:pt>
    <dgm:pt modelId="{2A7CA7CA-0AD1-4D88-B9B1-958D5178F1A6}" type="sibTrans" cxnId="{E4FF93DF-A9E1-41B0-9711-429E7E65C141}">
      <dgm:prSet/>
      <dgm:spPr/>
      <dgm:t>
        <a:bodyPr/>
        <a:lstStyle/>
        <a:p>
          <a:endParaRPr lang="en-US"/>
        </a:p>
      </dgm:t>
    </dgm:pt>
    <dgm:pt modelId="{5895775E-7755-4C0E-BEA1-40B57C550055}" type="pres">
      <dgm:prSet presAssocID="{F71E1B26-35CB-4510-8065-670EEB956B5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60F0E17-D5A9-46F7-B07B-9B6FDA59FC11}" type="pres">
      <dgm:prSet presAssocID="{71951D89-82BD-4710-AFBD-95961F30BD35}" presName="parentText" presStyleLbl="node1" presStyleIdx="0" presStyleCnt="3" custScaleY="5539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302730-F95B-47EB-ABD7-DA7C980431DD}" type="pres">
      <dgm:prSet presAssocID="{426E846A-A6AF-4791-A5EA-09DC697ED41D}" presName="spacer" presStyleCnt="0"/>
      <dgm:spPr/>
    </dgm:pt>
    <dgm:pt modelId="{A08B92D1-BFDC-4779-B08E-9EA993BEFDF6}" type="pres">
      <dgm:prSet presAssocID="{460E9B20-F33C-4C9E-BBEE-6575233C090F}" presName="parentText" presStyleLbl="node1" presStyleIdx="1" presStyleCnt="3" custScaleY="3997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E15F78-E0CD-442F-8A77-F496868BDD42}" type="pres">
      <dgm:prSet presAssocID="{460E9B20-F33C-4C9E-BBEE-6575233C090F}" presName="childText" presStyleLbl="revTx" presStyleIdx="0" presStyleCnt="1" custScaleY="690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212E44-6446-4460-8F1E-6F955A1E9712}" type="pres">
      <dgm:prSet presAssocID="{B5B43F22-57B0-4DAE-8E67-22810CE6A84A}" presName="parentText" presStyleLbl="node1" presStyleIdx="2" presStyleCnt="3" custScaleY="49778" custLinFactNeighborX="-476" custLinFactNeighborY="-8478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23E47EC-0E24-416F-8DD9-C3BC4216A9F0}" srcId="{F71E1B26-35CB-4510-8065-670EEB956B54}" destId="{71951D89-82BD-4710-AFBD-95961F30BD35}" srcOrd="0" destOrd="0" parTransId="{B5FD08B3-D58B-4747-AAB6-E5276AC7DF2A}" sibTransId="{426E846A-A6AF-4791-A5EA-09DC697ED41D}"/>
    <dgm:cxn modelId="{322AE8C0-49EB-456F-8D8B-241E101C4661}" type="presOf" srcId="{460E9B20-F33C-4C9E-BBEE-6575233C090F}" destId="{A08B92D1-BFDC-4779-B08E-9EA993BEFDF6}" srcOrd="0" destOrd="0" presId="urn:microsoft.com/office/officeart/2005/8/layout/vList2"/>
    <dgm:cxn modelId="{E82D4546-CB0A-473D-8874-33131060E123}" srcId="{F71E1B26-35CB-4510-8065-670EEB956B54}" destId="{460E9B20-F33C-4C9E-BBEE-6575233C090F}" srcOrd="1" destOrd="0" parTransId="{3F363822-5344-4451-B99C-0A73335C52D1}" sibTransId="{A4B9DDBB-963F-4058-9FED-9180D9BD4EAD}"/>
    <dgm:cxn modelId="{E4FF93DF-A9E1-41B0-9711-429E7E65C141}" srcId="{F71E1B26-35CB-4510-8065-670EEB956B54}" destId="{B5B43F22-57B0-4DAE-8E67-22810CE6A84A}" srcOrd="2" destOrd="0" parTransId="{D1B03125-607B-449E-B28E-D6DAD70272CE}" sibTransId="{2A7CA7CA-0AD1-4D88-B9B1-958D5178F1A6}"/>
    <dgm:cxn modelId="{A65DAE8D-A0CF-48EC-ABB1-43B5A7103648}" type="presOf" srcId="{71951D89-82BD-4710-AFBD-95961F30BD35}" destId="{360F0E17-D5A9-46F7-B07B-9B6FDA59FC11}" srcOrd="0" destOrd="0" presId="urn:microsoft.com/office/officeart/2005/8/layout/vList2"/>
    <dgm:cxn modelId="{54BE3E66-5D00-4DA1-B518-F9CD44C63A60}" srcId="{460E9B20-F33C-4C9E-BBEE-6575233C090F}" destId="{757CCEA5-4B2D-4495-A14E-08F74B21180E}" srcOrd="0" destOrd="0" parTransId="{6E4356D9-932A-4075-99AA-AAF6A5259A82}" sibTransId="{99581D4B-352A-4D87-8069-F13730C407D7}"/>
    <dgm:cxn modelId="{177A75E0-B7EB-414F-BC99-5A3E61A7A23B}" type="presOf" srcId="{B5B43F22-57B0-4DAE-8E67-22810CE6A84A}" destId="{41212E44-6446-4460-8F1E-6F955A1E9712}" srcOrd="0" destOrd="0" presId="urn:microsoft.com/office/officeart/2005/8/layout/vList2"/>
    <dgm:cxn modelId="{AC2A38F6-FFEE-4FEC-AD9E-DA8A3FE8AA60}" type="presOf" srcId="{757CCEA5-4B2D-4495-A14E-08F74B21180E}" destId="{ABE15F78-E0CD-442F-8A77-F496868BDD42}" srcOrd="0" destOrd="0" presId="urn:microsoft.com/office/officeart/2005/8/layout/vList2"/>
    <dgm:cxn modelId="{9818E360-2A08-4615-A6FC-16DB6393AB4F}" type="presOf" srcId="{F71E1B26-35CB-4510-8065-670EEB956B54}" destId="{5895775E-7755-4C0E-BEA1-40B57C550055}" srcOrd="0" destOrd="0" presId="urn:microsoft.com/office/officeart/2005/8/layout/vList2"/>
    <dgm:cxn modelId="{A0D7E76D-F75B-4A1C-A867-516D37E8FF45}" type="presParOf" srcId="{5895775E-7755-4C0E-BEA1-40B57C550055}" destId="{360F0E17-D5A9-46F7-B07B-9B6FDA59FC11}" srcOrd="0" destOrd="0" presId="urn:microsoft.com/office/officeart/2005/8/layout/vList2"/>
    <dgm:cxn modelId="{C9544D56-50AD-445A-81AD-60AB25A7B041}" type="presParOf" srcId="{5895775E-7755-4C0E-BEA1-40B57C550055}" destId="{7F302730-F95B-47EB-ABD7-DA7C980431DD}" srcOrd="1" destOrd="0" presId="urn:microsoft.com/office/officeart/2005/8/layout/vList2"/>
    <dgm:cxn modelId="{6349ABBC-E1BA-45AC-8A5F-2AF8DC787E3F}" type="presParOf" srcId="{5895775E-7755-4C0E-BEA1-40B57C550055}" destId="{A08B92D1-BFDC-4779-B08E-9EA993BEFDF6}" srcOrd="2" destOrd="0" presId="urn:microsoft.com/office/officeart/2005/8/layout/vList2"/>
    <dgm:cxn modelId="{FF048095-F9CE-4ECE-8276-B4D2DC50D388}" type="presParOf" srcId="{5895775E-7755-4C0E-BEA1-40B57C550055}" destId="{ABE15F78-E0CD-442F-8A77-F496868BDD42}" srcOrd="3" destOrd="0" presId="urn:microsoft.com/office/officeart/2005/8/layout/vList2"/>
    <dgm:cxn modelId="{C35FEB09-DE25-474E-BF37-1964E3CF1C11}" type="presParOf" srcId="{5895775E-7755-4C0E-BEA1-40B57C550055}" destId="{41212E44-6446-4460-8F1E-6F955A1E9712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DA38E77-5830-41A5-B351-6718F12538F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2C2C20BC-D6B6-45C4-8D19-252CDABA270B}">
      <dgm:prSet/>
      <dgm:spPr/>
      <dgm:t>
        <a:bodyPr/>
        <a:lstStyle/>
        <a:p>
          <a:pPr rtl="0"/>
          <a:r>
            <a:rPr lang="en-US" b="1" dirty="0" smtClean="0"/>
            <a:t>093943_IN</a:t>
          </a:r>
          <a:endParaRPr lang="en-US" dirty="0"/>
        </a:p>
      </dgm:t>
    </dgm:pt>
    <dgm:pt modelId="{821D53BB-CAC7-4ACE-B31F-50CD0278254E}" type="parTrans" cxnId="{7BC0AB55-836F-4483-B0EC-45BCAE1E9F46}">
      <dgm:prSet/>
      <dgm:spPr/>
      <dgm:t>
        <a:bodyPr/>
        <a:lstStyle/>
        <a:p>
          <a:endParaRPr lang="en-US"/>
        </a:p>
      </dgm:t>
    </dgm:pt>
    <dgm:pt modelId="{4C03651A-ABAB-49DC-B911-451F71C68DC8}" type="sibTrans" cxnId="{7BC0AB55-836F-4483-B0EC-45BCAE1E9F46}">
      <dgm:prSet/>
      <dgm:spPr/>
      <dgm:t>
        <a:bodyPr/>
        <a:lstStyle/>
        <a:p>
          <a:endParaRPr lang="en-US"/>
        </a:p>
      </dgm:t>
    </dgm:pt>
    <dgm:pt modelId="{71BE5EF7-AAAD-4817-A38F-20A887F3CB25}" type="pres">
      <dgm:prSet presAssocID="{5DA38E77-5830-41A5-B351-6718F12538F5}" presName="linear" presStyleCnt="0">
        <dgm:presLayoutVars>
          <dgm:animLvl val="lvl"/>
          <dgm:resizeHandles val="exact"/>
        </dgm:presLayoutVars>
      </dgm:prSet>
      <dgm:spPr/>
    </dgm:pt>
    <dgm:pt modelId="{A993451A-B46F-46F9-A9AB-791AEED6434D}" type="pres">
      <dgm:prSet presAssocID="{2C2C20BC-D6B6-45C4-8D19-252CDABA270B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7BC0AB55-836F-4483-B0EC-45BCAE1E9F46}" srcId="{5DA38E77-5830-41A5-B351-6718F12538F5}" destId="{2C2C20BC-D6B6-45C4-8D19-252CDABA270B}" srcOrd="0" destOrd="0" parTransId="{821D53BB-CAC7-4ACE-B31F-50CD0278254E}" sibTransId="{4C03651A-ABAB-49DC-B911-451F71C68DC8}"/>
    <dgm:cxn modelId="{AFBC1C04-8E14-4060-897D-4D2887280CCB}" type="presOf" srcId="{5DA38E77-5830-41A5-B351-6718F12538F5}" destId="{71BE5EF7-AAAD-4817-A38F-20A887F3CB25}" srcOrd="0" destOrd="0" presId="urn:microsoft.com/office/officeart/2005/8/layout/vList2"/>
    <dgm:cxn modelId="{73FB06C9-9887-406E-8E2A-CFD54FD2B92D}" type="presOf" srcId="{2C2C20BC-D6B6-45C4-8D19-252CDABA270B}" destId="{A993451A-B46F-46F9-A9AB-791AEED6434D}" srcOrd="0" destOrd="0" presId="urn:microsoft.com/office/officeart/2005/8/layout/vList2"/>
    <dgm:cxn modelId="{ACEB872D-EB20-4E8B-86DD-3A7FBE6E39E0}" type="presParOf" srcId="{71BE5EF7-AAAD-4817-A38F-20A887F3CB25}" destId="{A993451A-B46F-46F9-A9AB-791AEED6434D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4E3CAF2-CF62-478A-AB72-DE7B3AF2C81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BEC1AD4E-C0CF-4828-B6EF-420F89873DC2}">
      <dgm:prSet/>
      <dgm:spPr/>
      <dgm:t>
        <a:bodyPr/>
        <a:lstStyle/>
        <a:p>
          <a:pPr rtl="0"/>
          <a:r>
            <a:rPr lang="en-US" b="1" dirty="0" smtClean="0"/>
            <a:t>093958_IN</a:t>
          </a:r>
          <a:endParaRPr lang="en-US" dirty="0"/>
        </a:p>
      </dgm:t>
    </dgm:pt>
    <dgm:pt modelId="{33AD37A0-372C-4A8A-970E-D9EEAF63DB9B}" type="parTrans" cxnId="{319F9321-61CC-4F6E-9734-9D690DF41FEB}">
      <dgm:prSet/>
      <dgm:spPr/>
      <dgm:t>
        <a:bodyPr/>
        <a:lstStyle/>
        <a:p>
          <a:endParaRPr lang="en-US"/>
        </a:p>
      </dgm:t>
    </dgm:pt>
    <dgm:pt modelId="{98F52392-92F4-4D48-B956-F28FB4E5AD2A}" type="sibTrans" cxnId="{319F9321-61CC-4F6E-9734-9D690DF41FEB}">
      <dgm:prSet/>
      <dgm:spPr/>
      <dgm:t>
        <a:bodyPr/>
        <a:lstStyle/>
        <a:p>
          <a:endParaRPr lang="en-US"/>
        </a:p>
      </dgm:t>
    </dgm:pt>
    <dgm:pt modelId="{CA3723CA-74CD-42E1-A9A0-B42E46AC0923}" type="pres">
      <dgm:prSet presAssocID="{14E3CAF2-CF62-478A-AB72-DE7B3AF2C811}" presName="linear" presStyleCnt="0">
        <dgm:presLayoutVars>
          <dgm:animLvl val="lvl"/>
          <dgm:resizeHandles val="exact"/>
        </dgm:presLayoutVars>
      </dgm:prSet>
      <dgm:spPr/>
    </dgm:pt>
    <dgm:pt modelId="{660D3023-6CA5-4D08-B610-0182689ABA93}" type="pres">
      <dgm:prSet presAssocID="{BEC1AD4E-C0CF-4828-B6EF-420F89873DC2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319F9321-61CC-4F6E-9734-9D690DF41FEB}" srcId="{14E3CAF2-CF62-478A-AB72-DE7B3AF2C811}" destId="{BEC1AD4E-C0CF-4828-B6EF-420F89873DC2}" srcOrd="0" destOrd="0" parTransId="{33AD37A0-372C-4A8A-970E-D9EEAF63DB9B}" sibTransId="{98F52392-92F4-4D48-B956-F28FB4E5AD2A}"/>
    <dgm:cxn modelId="{AEC48209-87EE-4700-BE6F-89BF0CB139A2}" type="presOf" srcId="{BEC1AD4E-C0CF-4828-B6EF-420F89873DC2}" destId="{660D3023-6CA5-4D08-B610-0182689ABA93}" srcOrd="0" destOrd="0" presId="urn:microsoft.com/office/officeart/2005/8/layout/vList2"/>
    <dgm:cxn modelId="{100C257B-BCFE-4B3E-99AD-1E8918553205}" type="presOf" srcId="{14E3CAF2-CF62-478A-AB72-DE7B3AF2C811}" destId="{CA3723CA-74CD-42E1-A9A0-B42E46AC0923}" srcOrd="0" destOrd="0" presId="urn:microsoft.com/office/officeart/2005/8/layout/vList2"/>
    <dgm:cxn modelId="{88342787-6013-4F91-9527-0DF1958C6E64}" type="presParOf" srcId="{CA3723CA-74CD-42E1-A9A0-B42E46AC0923}" destId="{660D3023-6CA5-4D08-B610-0182689ABA9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EB663AA-26D3-4126-9480-B7A90D4781C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F944DDA7-3241-49C8-ADA3-BD8857368D5B}">
      <dgm:prSet/>
      <dgm:spPr/>
      <dgm:t>
        <a:bodyPr/>
        <a:lstStyle/>
        <a:p>
          <a:pPr rtl="0"/>
          <a:r>
            <a:rPr lang="en-US" b="1" dirty="0" smtClean="0"/>
            <a:t>093948_IN</a:t>
          </a:r>
          <a:endParaRPr lang="en-US" dirty="0"/>
        </a:p>
      </dgm:t>
    </dgm:pt>
    <dgm:pt modelId="{F761BFCB-1F56-4B0A-BF27-3B29DDEC7764}" type="parTrans" cxnId="{628857F9-247D-4317-A33D-373482C091E7}">
      <dgm:prSet/>
      <dgm:spPr/>
      <dgm:t>
        <a:bodyPr/>
        <a:lstStyle/>
        <a:p>
          <a:endParaRPr lang="en-US"/>
        </a:p>
      </dgm:t>
    </dgm:pt>
    <dgm:pt modelId="{7E9711AC-4D59-4292-87A3-0D001D3353D5}" type="sibTrans" cxnId="{628857F9-247D-4317-A33D-373482C091E7}">
      <dgm:prSet/>
      <dgm:spPr/>
      <dgm:t>
        <a:bodyPr/>
        <a:lstStyle/>
        <a:p>
          <a:endParaRPr lang="en-US"/>
        </a:p>
      </dgm:t>
    </dgm:pt>
    <dgm:pt modelId="{F7F11B17-A5C3-49E0-AD6A-8C4A4007BE15}" type="pres">
      <dgm:prSet presAssocID="{5EB663AA-26D3-4126-9480-B7A90D4781C4}" presName="linear" presStyleCnt="0">
        <dgm:presLayoutVars>
          <dgm:animLvl val="lvl"/>
          <dgm:resizeHandles val="exact"/>
        </dgm:presLayoutVars>
      </dgm:prSet>
      <dgm:spPr/>
    </dgm:pt>
    <dgm:pt modelId="{45C3E59F-F5BB-4918-A351-641C2B25F62B}" type="pres">
      <dgm:prSet presAssocID="{F944DDA7-3241-49C8-ADA3-BD8857368D5B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831A4AF9-A422-415F-AEAB-B6DF0F0E7855}" type="presOf" srcId="{F944DDA7-3241-49C8-ADA3-BD8857368D5B}" destId="{45C3E59F-F5BB-4918-A351-641C2B25F62B}" srcOrd="0" destOrd="0" presId="urn:microsoft.com/office/officeart/2005/8/layout/vList2"/>
    <dgm:cxn modelId="{628857F9-247D-4317-A33D-373482C091E7}" srcId="{5EB663AA-26D3-4126-9480-B7A90D4781C4}" destId="{F944DDA7-3241-49C8-ADA3-BD8857368D5B}" srcOrd="0" destOrd="0" parTransId="{F761BFCB-1F56-4B0A-BF27-3B29DDEC7764}" sibTransId="{7E9711AC-4D59-4292-87A3-0D001D3353D5}"/>
    <dgm:cxn modelId="{7354CDE6-2C6A-48BC-9C6F-2E1CDE6602D7}" type="presOf" srcId="{5EB663AA-26D3-4126-9480-B7A90D4781C4}" destId="{F7F11B17-A5C3-49E0-AD6A-8C4A4007BE15}" srcOrd="0" destOrd="0" presId="urn:microsoft.com/office/officeart/2005/8/layout/vList2"/>
    <dgm:cxn modelId="{9B9E8FE0-DB12-4D0F-98FF-43725B1D1BA8}" type="presParOf" srcId="{F7F11B17-A5C3-49E0-AD6A-8C4A4007BE15}" destId="{45C3E59F-F5BB-4918-A351-641C2B25F62B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4F24FC9-CA36-4175-BCDE-52500A77FCC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1EBAE229-5070-4868-8495-3EF6E19E2FED}">
      <dgm:prSet/>
      <dgm:spPr/>
      <dgm:t>
        <a:bodyPr/>
        <a:lstStyle/>
        <a:p>
          <a:pPr rtl="0"/>
          <a:r>
            <a:rPr lang="en-US" b="1" dirty="0" smtClean="0"/>
            <a:t>094336_IN</a:t>
          </a:r>
          <a:endParaRPr lang="en-US" dirty="0"/>
        </a:p>
      </dgm:t>
    </dgm:pt>
    <dgm:pt modelId="{9E89FF58-DC17-4647-821B-694F5D81F3CE}" type="parTrans" cxnId="{501524CB-2689-45DC-ADDC-17BA56C4840B}">
      <dgm:prSet/>
      <dgm:spPr/>
      <dgm:t>
        <a:bodyPr/>
        <a:lstStyle/>
        <a:p>
          <a:endParaRPr lang="en-US"/>
        </a:p>
      </dgm:t>
    </dgm:pt>
    <dgm:pt modelId="{C081FADC-E091-44A9-B487-FA1A864168D0}" type="sibTrans" cxnId="{501524CB-2689-45DC-ADDC-17BA56C4840B}">
      <dgm:prSet/>
      <dgm:spPr/>
      <dgm:t>
        <a:bodyPr/>
        <a:lstStyle/>
        <a:p>
          <a:endParaRPr lang="en-US"/>
        </a:p>
      </dgm:t>
    </dgm:pt>
    <dgm:pt modelId="{F9E68811-7989-4E14-8987-85618BA91FA0}" type="pres">
      <dgm:prSet presAssocID="{A4F24FC9-CA36-4175-BCDE-52500A77FCC5}" presName="linear" presStyleCnt="0">
        <dgm:presLayoutVars>
          <dgm:animLvl val="lvl"/>
          <dgm:resizeHandles val="exact"/>
        </dgm:presLayoutVars>
      </dgm:prSet>
      <dgm:spPr/>
    </dgm:pt>
    <dgm:pt modelId="{0D646477-A7FF-46DC-B54C-036026798840}" type="pres">
      <dgm:prSet presAssocID="{1EBAE229-5070-4868-8495-3EF6E19E2FED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501524CB-2689-45DC-ADDC-17BA56C4840B}" srcId="{A4F24FC9-CA36-4175-BCDE-52500A77FCC5}" destId="{1EBAE229-5070-4868-8495-3EF6E19E2FED}" srcOrd="0" destOrd="0" parTransId="{9E89FF58-DC17-4647-821B-694F5D81F3CE}" sibTransId="{C081FADC-E091-44A9-B487-FA1A864168D0}"/>
    <dgm:cxn modelId="{6900D5BD-AAC1-42DA-98DC-1879582C4B71}" type="presOf" srcId="{1EBAE229-5070-4868-8495-3EF6E19E2FED}" destId="{0D646477-A7FF-46DC-B54C-036026798840}" srcOrd="0" destOrd="0" presId="urn:microsoft.com/office/officeart/2005/8/layout/vList2"/>
    <dgm:cxn modelId="{0316818E-9A56-4190-BBA8-B83360A52BE5}" type="presOf" srcId="{A4F24FC9-CA36-4175-BCDE-52500A77FCC5}" destId="{F9E68811-7989-4E14-8987-85618BA91FA0}" srcOrd="0" destOrd="0" presId="urn:microsoft.com/office/officeart/2005/8/layout/vList2"/>
    <dgm:cxn modelId="{B11976AF-29CA-4505-A482-0D0005B6B4DE}" type="presParOf" srcId="{F9E68811-7989-4E14-8987-85618BA91FA0}" destId="{0D646477-A7FF-46DC-B54C-03602679884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0CABEB1-52F3-4543-A5C1-A063AAFBBD7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A9ABC8D5-FEAE-4AC2-A5E0-068044E1B66C}">
      <dgm:prSet/>
      <dgm:spPr/>
      <dgm:t>
        <a:bodyPr/>
        <a:lstStyle/>
        <a:p>
          <a:pPr rtl="0"/>
          <a:r>
            <a:rPr lang="en-US" b="1" dirty="0" smtClean="0"/>
            <a:t>094005_IN</a:t>
          </a:r>
          <a:endParaRPr lang="en-US" dirty="0"/>
        </a:p>
      </dgm:t>
    </dgm:pt>
    <dgm:pt modelId="{30E6EFEB-E680-420E-B7BB-A1C6A6D086FB}" type="parTrans" cxnId="{80ADEAAB-4196-40A2-8DA0-C3E105973F26}">
      <dgm:prSet/>
      <dgm:spPr/>
      <dgm:t>
        <a:bodyPr/>
        <a:lstStyle/>
        <a:p>
          <a:endParaRPr lang="en-US"/>
        </a:p>
      </dgm:t>
    </dgm:pt>
    <dgm:pt modelId="{E1C9F595-A701-4542-AED7-63588438AEF6}" type="sibTrans" cxnId="{80ADEAAB-4196-40A2-8DA0-C3E105973F26}">
      <dgm:prSet/>
      <dgm:spPr/>
      <dgm:t>
        <a:bodyPr/>
        <a:lstStyle/>
        <a:p>
          <a:endParaRPr lang="en-US"/>
        </a:p>
      </dgm:t>
    </dgm:pt>
    <dgm:pt modelId="{B2BA455F-5C0E-4809-9751-985FB4D9EAB9}" type="pres">
      <dgm:prSet presAssocID="{00CABEB1-52F3-4543-A5C1-A063AAFBBD70}" presName="linear" presStyleCnt="0">
        <dgm:presLayoutVars>
          <dgm:animLvl val="lvl"/>
          <dgm:resizeHandles val="exact"/>
        </dgm:presLayoutVars>
      </dgm:prSet>
      <dgm:spPr/>
    </dgm:pt>
    <dgm:pt modelId="{F316B983-7E6D-4A68-8090-3335657EA040}" type="pres">
      <dgm:prSet presAssocID="{A9ABC8D5-FEAE-4AC2-A5E0-068044E1B66C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E0064F83-C8E2-41B4-B7E6-6A9B19F77328}" type="presOf" srcId="{00CABEB1-52F3-4543-A5C1-A063AAFBBD70}" destId="{B2BA455F-5C0E-4809-9751-985FB4D9EAB9}" srcOrd="0" destOrd="0" presId="urn:microsoft.com/office/officeart/2005/8/layout/vList2"/>
    <dgm:cxn modelId="{50B7899E-B00F-4035-B67F-F549E72A9696}" type="presOf" srcId="{A9ABC8D5-FEAE-4AC2-A5E0-068044E1B66C}" destId="{F316B983-7E6D-4A68-8090-3335657EA040}" srcOrd="0" destOrd="0" presId="urn:microsoft.com/office/officeart/2005/8/layout/vList2"/>
    <dgm:cxn modelId="{80ADEAAB-4196-40A2-8DA0-C3E105973F26}" srcId="{00CABEB1-52F3-4543-A5C1-A063AAFBBD70}" destId="{A9ABC8D5-FEAE-4AC2-A5E0-068044E1B66C}" srcOrd="0" destOrd="0" parTransId="{30E6EFEB-E680-420E-B7BB-A1C6A6D086FB}" sibTransId="{E1C9F595-A701-4542-AED7-63588438AEF6}"/>
    <dgm:cxn modelId="{F2E589D4-3219-46CF-A8BE-784318AAC33B}" type="presParOf" srcId="{B2BA455F-5C0E-4809-9751-985FB4D9EAB9}" destId="{F316B983-7E6D-4A68-8090-3335657EA04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E3BB4E3-9824-494A-8AE0-234592BF224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85995D4E-D875-424A-B6B4-9B511EA72BFB}">
      <dgm:prSet/>
      <dgm:spPr/>
      <dgm:t>
        <a:bodyPr/>
        <a:lstStyle/>
        <a:p>
          <a:pPr rtl="0"/>
          <a:r>
            <a:rPr lang="en-US" b="1" dirty="0" smtClean="0"/>
            <a:t>093953_IN</a:t>
          </a:r>
          <a:endParaRPr lang="en-US" dirty="0"/>
        </a:p>
      </dgm:t>
    </dgm:pt>
    <dgm:pt modelId="{41133DE1-D26D-4F07-A37A-75ABDFC14BAD}" type="parTrans" cxnId="{75759A27-186C-47B6-9AD8-B30D76AD9762}">
      <dgm:prSet/>
      <dgm:spPr/>
      <dgm:t>
        <a:bodyPr/>
        <a:lstStyle/>
        <a:p>
          <a:endParaRPr lang="en-US"/>
        </a:p>
      </dgm:t>
    </dgm:pt>
    <dgm:pt modelId="{467F899B-B88D-4CF7-A145-D0E4664CDEAD}" type="sibTrans" cxnId="{75759A27-186C-47B6-9AD8-B30D76AD9762}">
      <dgm:prSet/>
      <dgm:spPr/>
      <dgm:t>
        <a:bodyPr/>
        <a:lstStyle/>
        <a:p>
          <a:endParaRPr lang="en-US"/>
        </a:p>
      </dgm:t>
    </dgm:pt>
    <dgm:pt modelId="{E23F874B-5A92-40FF-B6F9-80079D314767}" type="pres">
      <dgm:prSet presAssocID="{DE3BB4E3-9824-494A-8AE0-234592BF2245}" presName="linear" presStyleCnt="0">
        <dgm:presLayoutVars>
          <dgm:animLvl val="lvl"/>
          <dgm:resizeHandles val="exact"/>
        </dgm:presLayoutVars>
      </dgm:prSet>
      <dgm:spPr/>
    </dgm:pt>
    <dgm:pt modelId="{4D84FA11-2B69-478A-B4BA-5C6FBD0EC793}" type="pres">
      <dgm:prSet presAssocID="{85995D4E-D875-424A-B6B4-9B511EA72BFB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3354ECF0-E330-4B9B-8D82-ADB7B52CC301}" type="presOf" srcId="{DE3BB4E3-9824-494A-8AE0-234592BF2245}" destId="{E23F874B-5A92-40FF-B6F9-80079D314767}" srcOrd="0" destOrd="0" presId="urn:microsoft.com/office/officeart/2005/8/layout/vList2"/>
    <dgm:cxn modelId="{75759A27-186C-47B6-9AD8-B30D76AD9762}" srcId="{DE3BB4E3-9824-494A-8AE0-234592BF2245}" destId="{85995D4E-D875-424A-B6B4-9B511EA72BFB}" srcOrd="0" destOrd="0" parTransId="{41133DE1-D26D-4F07-A37A-75ABDFC14BAD}" sibTransId="{467F899B-B88D-4CF7-A145-D0E4664CDEAD}"/>
    <dgm:cxn modelId="{7427C4CC-761C-49B9-8255-34BAFBFC8E2F}" type="presOf" srcId="{85995D4E-D875-424A-B6B4-9B511EA72BFB}" destId="{4D84FA11-2B69-478A-B4BA-5C6FBD0EC793}" srcOrd="0" destOrd="0" presId="urn:microsoft.com/office/officeart/2005/8/layout/vList2"/>
    <dgm:cxn modelId="{77A85A36-CF40-4852-A911-9204869D1508}" type="presParOf" srcId="{E23F874B-5A92-40FF-B6F9-80079D314767}" destId="{4D84FA11-2B69-478A-B4BA-5C6FBD0EC79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BF6FB7E-AE2D-4FDB-A61E-81176426C80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AED27225-0FF2-43B0-8135-ECE458128E74}">
      <dgm:prSet/>
      <dgm:spPr/>
      <dgm:t>
        <a:bodyPr/>
        <a:lstStyle/>
        <a:p>
          <a:pPr rtl="0"/>
          <a:r>
            <a:rPr lang="en-US" b="1" dirty="0" smtClean="0"/>
            <a:t>093976_IN</a:t>
          </a:r>
          <a:endParaRPr lang="en-US" dirty="0"/>
        </a:p>
      </dgm:t>
    </dgm:pt>
    <dgm:pt modelId="{98C07942-DA61-4805-B629-78D24417AEB1}" type="parTrans" cxnId="{EA0CF1A5-ABB3-4700-A184-8598F9DFDB73}">
      <dgm:prSet/>
      <dgm:spPr/>
      <dgm:t>
        <a:bodyPr/>
        <a:lstStyle/>
        <a:p>
          <a:endParaRPr lang="en-US"/>
        </a:p>
      </dgm:t>
    </dgm:pt>
    <dgm:pt modelId="{4CCC3D7B-5A87-47F4-BAEE-C239E7A0AA2A}" type="sibTrans" cxnId="{EA0CF1A5-ABB3-4700-A184-8598F9DFDB73}">
      <dgm:prSet/>
      <dgm:spPr/>
      <dgm:t>
        <a:bodyPr/>
        <a:lstStyle/>
        <a:p>
          <a:endParaRPr lang="en-US"/>
        </a:p>
      </dgm:t>
    </dgm:pt>
    <dgm:pt modelId="{95C36BD1-3BF9-402F-B623-A8563A6CE871}" type="pres">
      <dgm:prSet presAssocID="{3BF6FB7E-AE2D-4FDB-A61E-81176426C802}" presName="linear" presStyleCnt="0">
        <dgm:presLayoutVars>
          <dgm:animLvl val="lvl"/>
          <dgm:resizeHandles val="exact"/>
        </dgm:presLayoutVars>
      </dgm:prSet>
      <dgm:spPr/>
    </dgm:pt>
    <dgm:pt modelId="{CB33D2E7-E28C-45FC-9594-F3E145EBB6DC}" type="pres">
      <dgm:prSet presAssocID="{AED27225-0FF2-43B0-8135-ECE458128E74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EA0CF1A5-ABB3-4700-A184-8598F9DFDB73}" srcId="{3BF6FB7E-AE2D-4FDB-A61E-81176426C802}" destId="{AED27225-0FF2-43B0-8135-ECE458128E74}" srcOrd="0" destOrd="0" parTransId="{98C07942-DA61-4805-B629-78D24417AEB1}" sibTransId="{4CCC3D7B-5A87-47F4-BAEE-C239E7A0AA2A}"/>
    <dgm:cxn modelId="{C086D035-4486-47A3-ADF4-24E830B7E258}" type="presOf" srcId="{3BF6FB7E-AE2D-4FDB-A61E-81176426C802}" destId="{95C36BD1-3BF9-402F-B623-A8563A6CE871}" srcOrd="0" destOrd="0" presId="urn:microsoft.com/office/officeart/2005/8/layout/vList2"/>
    <dgm:cxn modelId="{91FD618B-574E-4102-A207-A5209D917C9B}" type="presOf" srcId="{AED27225-0FF2-43B0-8135-ECE458128E74}" destId="{CB33D2E7-E28C-45FC-9594-F3E145EBB6DC}" srcOrd="0" destOrd="0" presId="urn:microsoft.com/office/officeart/2005/8/layout/vList2"/>
    <dgm:cxn modelId="{AF41F187-6713-4208-B685-6DC2EC50A5DB}" type="presParOf" srcId="{95C36BD1-3BF9-402F-B623-A8563A6CE871}" destId="{CB33D2E7-E28C-45FC-9594-F3E145EBB6D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3F6000-42DA-471E-B957-35EACC5DAB6E}">
      <dsp:nvSpPr>
        <dsp:cNvPr id="0" name=""/>
        <dsp:cNvSpPr/>
      </dsp:nvSpPr>
      <dsp:spPr>
        <a:xfrm>
          <a:off x="0" y="0"/>
          <a:ext cx="1515470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MPLOYEE ID</a:t>
          </a:r>
          <a:endParaRPr lang="en-US" sz="1800" kern="1200" dirty="0"/>
        </a:p>
      </dsp:txBody>
      <dsp:txXfrm>
        <a:off x="21075" y="21075"/>
        <a:ext cx="1473320" cy="38958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47E5C5-9353-439B-9A5C-E6A77C9F0492}">
      <dsp:nvSpPr>
        <dsp:cNvPr id="0" name=""/>
        <dsp:cNvSpPr/>
      </dsp:nvSpPr>
      <dsp:spPr>
        <a:xfrm>
          <a:off x="0" y="4778"/>
          <a:ext cx="152400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093949_IN</a:t>
          </a:r>
          <a:endParaRPr lang="en-US" sz="1500" kern="1200" dirty="0"/>
        </a:p>
      </dsp:txBody>
      <dsp:txXfrm>
        <a:off x="17563" y="22341"/>
        <a:ext cx="1488874" cy="32464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536BB3-5728-484D-B52D-21FA43AA91D4}">
      <dsp:nvSpPr>
        <dsp:cNvPr id="0" name=""/>
        <dsp:cNvSpPr/>
      </dsp:nvSpPr>
      <dsp:spPr>
        <a:xfrm>
          <a:off x="0" y="4778"/>
          <a:ext cx="2630606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Ajaykumar R Yadav</a:t>
          </a:r>
          <a:endParaRPr lang="en-US" sz="1500" kern="1200" dirty="0"/>
        </a:p>
      </dsp:txBody>
      <dsp:txXfrm>
        <a:off x="17563" y="22341"/>
        <a:ext cx="2595480" cy="324648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ACF329-773A-4D94-87A1-116A85A546E8}">
      <dsp:nvSpPr>
        <dsp:cNvPr id="0" name=""/>
        <dsp:cNvSpPr/>
      </dsp:nvSpPr>
      <dsp:spPr>
        <a:xfrm>
          <a:off x="0" y="8653"/>
          <a:ext cx="2630606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Jabbar M A</a:t>
          </a:r>
          <a:endParaRPr lang="en-US" sz="1500" kern="1200" dirty="0"/>
        </a:p>
      </dsp:txBody>
      <dsp:txXfrm>
        <a:off x="17563" y="26216"/>
        <a:ext cx="2595480" cy="324648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ECDCAE-5391-4605-A98F-6968A5B13BB2}">
      <dsp:nvSpPr>
        <dsp:cNvPr id="0" name=""/>
        <dsp:cNvSpPr/>
      </dsp:nvSpPr>
      <dsp:spPr>
        <a:xfrm>
          <a:off x="0" y="4778"/>
          <a:ext cx="2630606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smtClean="0"/>
            <a:t>Kapil Dev S</a:t>
          </a:r>
          <a:endParaRPr lang="en-US" sz="1500" kern="1200"/>
        </a:p>
      </dsp:txBody>
      <dsp:txXfrm>
        <a:off x="17563" y="22341"/>
        <a:ext cx="2595480" cy="324648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446B77-167A-44C5-810C-4FD6B5A16BEC}">
      <dsp:nvSpPr>
        <dsp:cNvPr id="0" name=""/>
        <dsp:cNvSpPr/>
      </dsp:nvSpPr>
      <dsp:spPr>
        <a:xfrm>
          <a:off x="0" y="4778"/>
          <a:ext cx="2636293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Lokanadha Sai Krishna K</a:t>
          </a:r>
          <a:endParaRPr lang="en-US" sz="1500" kern="1200" dirty="0"/>
        </a:p>
      </dsp:txBody>
      <dsp:txXfrm>
        <a:off x="17563" y="22341"/>
        <a:ext cx="2601167" cy="324648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347666-900E-45B2-945F-4D3628C58D83}">
      <dsp:nvSpPr>
        <dsp:cNvPr id="0" name=""/>
        <dsp:cNvSpPr/>
      </dsp:nvSpPr>
      <dsp:spPr>
        <a:xfrm>
          <a:off x="0" y="4778"/>
          <a:ext cx="2622644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smtClean="0"/>
            <a:t>Nandini N</a:t>
          </a:r>
          <a:endParaRPr lang="en-US" sz="1500" kern="1200"/>
        </a:p>
      </dsp:txBody>
      <dsp:txXfrm>
        <a:off x="17563" y="22341"/>
        <a:ext cx="2587518" cy="324648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BE70EC-C1AE-4FC5-97C0-DAC6213A9A27}">
      <dsp:nvSpPr>
        <dsp:cNvPr id="0" name=""/>
        <dsp:cNvSpPr/>
      </dsp:nvSpPr>
      <dsp:spPr>
        <a:xfrm>
          <a:off x="0" y="7894"/>
          <a:ext cx="2611269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Navya Rani M</a:t>
          </a:r>
          <a:endParaRPr lang="en-US" sz="1500" kern="1200" dirty="0"/>
        </a:p>
      </dsp:txBody>
      <dsp:txXfrm>
        <a:off x="17563" y="25457"/>
        <a:ext cx="2576143" cy="324648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AA1BB6-BB30-41F8-BA2B-55117AF2CA79}">
      <dsp:nvSpPr>
        <dsp:cNvPr id="0" name=""/>
        <dsp:cNvSpPr/>
      </dsp:nvSpPr>
      <dsp:spPr>
        <a:xfrm>
          <a:off x="0" y="4778"/>
          <a:ext cx="2611841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smtClean="0"/>
            <a:t>Rushabh Choube</a:t>
          </a:r>
          <a:endParaRPr lang="en-US" sz="1500" kern="1200"/>
        </a:p>
      </dsp:txBody>
      <dsp:txXfrm>
        <a:off x="17563" y="22341"/>
        <a:ext cx="2576715" cy="324648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E9943C-F379-4831-B258-76C37BAC439F}">
      <dsp:nvSpPr>
        <dsp:cNvPr id="0" name=""/>
        <dsp:cNvSpPr/>
      </dsp:nvSpPr>
      <dsp:spPr>
        <a:xfrm>
          <a:off x="0" y="4778"/>
          <a:ext cx="260331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smtClean="0"/>
            <a:t>Sai Priya B</a:t>
          </a:r>
          <a:endParaRPr lang="en-US" sz="1500" kern="1200"/>
        </a:p>
      </dsp:txBody>
      <dsp:txXfrm>
        <a:off x="17563" y="22341"/>
        <a:ext cx="2568184" cy="324648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E49416-342C-4C1F-842D-C2D0955E6671}">
      <dsp:nvSpPr>
        <dsp:cNvPr id="0" name=""/>
        <dsp:cNvSpPr/>
      </dsp:nvSpPr>
      <dsp:spPr>
        <a:xfrm>
          <a:off x="0" y="37955"/>
          <a:ext cx="8229600" cy="97301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/>
            <a:t>The project is aimed to test an online University Admission System (UAS) for applicants. </a:t>
          </a:r>
          <a:endParaRPr lang="en-US" sz="2300" kern="1200" dirty="0"/>
        </a:p>
      </dsp:txBody>
      <dsp:txXfrm>
        <a:off x="47499" y="85454"/>
        <a:ext cx="8134602" cy="878018"/>
      </dsp:txXfrm>
    </dsp:sp>
    <dsp:sp modelId="{EF9E9413-A5C9-4868-8677-023F64B9E823}">
      <dsp:nvSpPr>
        <dsp:cNvPr id="0" name=""/>
        <dsp:cNvSpPr/>
      </dsp:nvSpPr>
      <dsp:spPr>
        <a:xfrm>
          <a:off x="0" y="1123292"/>
          <a:ext cx="8229600" cy="5808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/>
            <a:t>This is a web based application.</a:t>
          </a:r>
          <a:endParaRPr lang="en-US" sz="2300" kern="1200" dirty="0"/>
        </a:p>
      </dsp:txBody>
      <dsp:txXfrm>
        <a:off x="28353" y="1151645"/>
        <a:ext cx="8172894" cy="524114"/>
      </dsp:txXfrm>
    </dsp:sp>
    <dsp:sp modelId="{E1DE32F9-33C1-4531-B87D-6428A1956D7F}">
      <dsp:nvSpPr>
        <dsp:cNvPr id="0" name=""/>
        <dsp:cNvSpPr/>
      </dsp:nvSpPr>
      <dsp:spPr>
        <a:xfrm>
          <a:off x="0" y="1854388"/>
          <a:ext cx="8229600" cy="12698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/>
            <a:t>This system can be used to search a university program, apply online for a selected University program without any login and fill up the form.</a:t>
          </a:r>
          <a:endParaRPr lang="en-US" sz="2300" kern="1200" dirty="0"/>
        </a:p>
      </dsp:txBody>
      <dsp:txXfrm>
        <a:off x="61987" y="1916375"/>
        <a:ext cx="8105626" cy="11458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FC502A-59AE-4D68-ACD8-F3EAD3419CC5}">
      <dsp:nvSpPr>
        <dsp:cNvPr id="0" name=""/>
        <dsp:cNvSpPr/>
      </dsp:nvSpPr>
      <dsp:spPr>
        <a:xfrm>
          <a:off x="0" y="0"/>
          <a:ext cx="2661311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MPLOYEE NAME</a:t>
          </a:r>
          <a:endParaRPr lang="en-US" sz="1800" kern="1200" dirty="0"/>
        </a:p>
      </dsp:txBody>
      <dsp:txXfrm>
        <a:off x="21075" y="21075"/>
        <a:ext cx="2619161" cy="389580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6F6E54-CCC1-480E-9237-F0F254DDA5CF}">
      <dsp:nvSpPr>
        <dsp:cNvPr id="0" name=""/>
        <dsp:cNvSpPr/>
      </dsp:nvSpPr>
      <dsp:spPr>
        <a:xfrm>
          <a:off x="0" y="23548"/>
          <a:ext cx="8229600" cy="9670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/>
            <a:t>This system can also be used by the Administration staff to add/update/delete any program that university offers. </a:t>
          </a:r>
          <a:endParaRPr lang="en-US" sz="2300" kern="1200" dirty="0"/>
        </a:p>
      </dsp:txBody>
      <dsp:txXfrm>
        <a:off x="47208" y="70756"/>
        <a:ext cx="8135184" cy="872640"/>
      </dsp:txXfrm>
    </dsp:sp>
    <dsp:sp modelId="{B5042E0C-D775-44CB-BC5E-433F9EB3FAF4}">
      <dsp:nvSpPr>
        <dsp:cNvPr id="0" name=""/>
        <dsp:cNvSpPr/>
      </dsp:nvSpPr>
      <dsp:spPr>
        <a:xfrm>
          <a:off x="0" y="1091404"/>
          <a:ext cx="8229600" cy="129168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/>
            <a:t>Members of admission committee(MAC) have the responsibility to filter the candidates for a specific program on the basis of application data and interview. </a:t>
          </a:r>
          <a:endParaRPr lang="en-US" sz="2300" kern="1200" dirty="0"/>
        </a:p>
      </dsp:txBody>
      <dsp:txXfrm>
        <a:off x="63055" y="1154459"/>
        <a:ext cx="8103490" cy="1165579"/>
      </dsp:txXfrm>
    </dsp:sp>
    <dsp:sp modelId="{83DAD5B1-1C05-4999-B0AD-D1A0C2B0328A}">
      <dsp:nvSpPr>
        <dsp:cNvPr id="0" name=""/>
        <dsp:cNvSpPr/>
      </dsp:nvSpPr>
      <dsp:spPr>
        <a:xfrm>
          <a:off x="0" y="2507442"/>
          <a:ext cx="8229600" cy="8453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smtClean="0">
              <a:hlinkClick xmlns:r="http://schemas.openxmlformats.org/officeDocument/2006/relationships" r:id="rId1"/>
            </a:rPr>
            <a:t>http://ilearnUniversity.com</a:t>
          </a:r>
          <a:endParaRPr lang="en-US" sz="2300" kern="1200"/>
        </a:p>
      </dsp:txBody>
      <dsp:txXfrm>
        <a:off x="41267" y="2548709"/>
        <a:ext cx="8147066" cy="762822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AC6DC6-FA02-4231-8C0A-4353AA568762}">
      <dsp:nvSpPr>
        <dsp:cNvPr id="0" name=""/>
        <dsp:cNvSpPr/>
      </dsp:nvSpPr>
      <dsp:spPr>
        <a:xfrm>
          <a:off x="-4594335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2E3911-C73C-4D21-BDE5-A16C1C0F4DE9}">
      <dsp:nvSpPr>
        <dsp:cNvPr id="0" name=""/>
        <dsp:cNvSpPr/>
      </dsp:nvSpPr>
      <dsp:spPr>
        <a:xfrm>
          <a:off x="564979" y="406400"/>
          <a:ext cx="6771233" cy="812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68580" rIns="68580" bIns="6858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Applicant</a:t>
          </a:r>
          <a:endParaRPr lang="en-US" sz="2700" kern="1200" dirty="0"/>
        </a:p>
      </dsp:txBody>
      <dsp:txXfrm>
        <a:off x="564979" y="406400"/>
        <a:ext cx="6771233" cy="812800"/>
      </dsp:txXfrm>
    </dsp:sp>
    <dsp:sp modelId="{052EB42F-D5AD-4E59-A8D9-7E209109DF46}">
      <dsp:nvSpPr>
        <dsp:cNvPr id="0" name=""/>
        <dsp:cNvSpPr/>
      </dsp:nvSpPr>
      <dsp:spPr>
        <a:xfrm>
          <a:off x="56979" y="304800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FBF426-270A-4116-88C9-EAFC9FE632E6}">
      <dsp:nvSpPr>
        <dsp:cNvPr id="0" name=""/>
        <dsp:cNvSpPr/>
      </dsp:nvSpPr>
      <dsp:spPr>
        <a:xfrm>
          <a:off x="860432" y="1625599"/>
          <a:ext cx="6475780" cy="812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68580" rIns="68580" bIns="6858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Administrator</a:t>
          </a:r>
          <a:endParaRPr lang="en-US" sz="2700" kern="1200" dirty="0"/>
        </a:p>
      </dsp:txBody>
      <dsp:txXfrm>
        <a:off x="860432" y="1625599"/>
        <a:ext cx="6475780" cy="812800"/>
      </dsp:txXfrm>
    </dsp:sp>
    <dsp:sp modelId="{B9A252AB-B064-4217-9ADA-FBE1FF95985E}">
      <dsp:nvSpPr>
        <dsp:cNvPr id="0" name=""/>
        <dsp:cNvSpPr/>
      </dsp:nvSpPr>
      <dsp:spPr>
        <a:xfrm>
          <a:off x="352432" y="1523999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BDDBB6-16A8-4742-893A-8B8A0E3DD525}">
      <dsp:nvSpPr>
        <dsp:cNvPr id="0" name=""/>
        <dsp:cNvSpPr/>
      </dsp:nvSpPr>
      <dsp:spPr>
        <a:xfrm>
          <a:off x="564979" y="2844800"/>
          <a:ext cx="6771233" cy="812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68580" rIns="68580" bIns="6858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MAC (Member’s of Admission Committee)</a:t>
          </a:r>
          <a:endParaRPr lang="en-US" sz="2700" kern="1200" dirty="0"/>
        </a:p>
      </dsp:txBody>
      <dsp:txXfrm>
        <a:off x="564979" y="2844800"/>
        <a:ext cx="6771233" cy="812800"/>
      </dsp:txXfrm>
    </dsp:sp>
    <dsp:sp modelId="{3228DB47-F845-44C0-AC71-8111314F0AE8}">
      <dsp:nvSpPr>
        <dsp:cNvPr id="0" name=""/>
        <dsp:cNvSpPr/>
      </dsp:nvSpPr>
      <dsp:spPr>
        <a:xfrm>
          <a:off x="56979" y="2743200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E46BA1-0CB4-4D99-A90E-093D9CEB035E}">
      <dsp:nvSpPr>
        <dsp:cNvPr id="0" name=""/>
        <dsp:cNvSpPr/>
      </dsp:nvSpPr>
      <dsp:spPr>
        <a:xfrm>
          <a:off x="0" y="281776"/>
          <a:ext cx="8229600" cy="79485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l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1" kern="1200" smtClean="0"/>
            <a:t>Total Test Cases : 137</a:t>
          </a:r>
          <a:endParaRPr lang="en-US" sz="3000" kern="1200"/>
        </a:p>
      </dsp:txBody>
      <dsp:txXfrm>
        <a:off x="38802" y="320578"/>
        <a:ext cx="8151996" cy="717255"/>
      </dsp:txXfrm>
    </dsp:sp>
    <dsp:sp modelId="{56504824-0802-41E1-9130-C46B5EEAA280}">
      <dsp:nvSpPr>
        <dsp:cNvPr id="0" name=""/>
        <dsp:cNvSpPr/>
      </dsp:nvSpPr>
      <dsp:spPr>
        <a:xfrm>
          <a:off x="0" y="1260955"/>
          <a:ext cx="8229600" cy="72453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l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1" kern="1200" smtClean="0"/>
            <a:t>Test Cases Passed: 104</a:t>
          </a:r>
          <a:endParaRPr lang="en-US" sz="3000" kern="1200"/>
        </a:p>
      </dsp:txBody>
      <dsp:txXfrm>
        <a:off x="35369" y="1296324"/>
        <a:ext cx="8158862" cy="653800"/>
      </dsp:txXfrm>
    </dsp:sp>
    <dsp:sp modelId="{F4D76358-D677-4E69-B08B-3833EFEB9C3D}">
      <dsp:nvSpPr>
        <dsp:cNvPr id="0" name=""/>
        <dsp:cNvSpPr/>
      </dsp:nvSpPr>
      <dsp:spPr>
        <a:xfrm>
          <a:off x="0" y="2169814"/>
          <a:ext cx="8229600" cy="74880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l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1" kern="1200" dirty="0" smtClean="0"/>
            <a:t>Test Cases Failed:33</a:t>
          </a:r>
          <a:endParaRPr lang="en-US" sz="3000" kern="1200" dirty="0"/>
        </a:p>
      </dsp:txBody>
      <dsp:txXfrm>
        <a:off x="36554" y="2206368"/>
        <a:ext cx="8156492" cy="675699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FD4757-5BD6-4368-AC58-805E15B9DA26}">
      <dsp:nvSpPr>
        <dsp:cNvPr id="0" name=""/>
        <dsp:cNvSpPr/>
      </dsp:nvSpPr>
      <dsp:spPr>
        <a:xfrm>
          <a:off x="0" y="2960"/>
          <a:ext cx="8229600" cy="110248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u="sng" kern="1200" dirty="0" smtClean="0"/>
            <a:t>To simplify the requirements for better understanding of the system user test</a:t>
          </a:r>
          <a:endParaRPr lang="en-US" sz="2800" kern="1200" dirty="0"/>
        </a:p>
      </dsp:txBody>
      <dsp:txXfrm>
        <a:off x="53819" y="56779"/>
        <a:ext cx="8121962" cy="994845"/>
      </dsp:txXfrm>
    </dsp:sp>
    <dsp:sp modelId="{2D7FD5A6-A3B4-4B3F-AE1B-50190733B690}">
      <dsp:nvSpPr>
        <dsp:cNvPr id="0" name=""/>
        <dsp:cNvSpPr/>
      </dsp:nvSpPr>
      <dsp:spPr>
        <a:xfrm>
          <a:off x="0" y="1214884"/>
          <a:ext cx="8229600" cy="78082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u="sng" kern="1200" dirty="0" smtClean="0"/>
            <a:t>To identify different Test scenarios</a:t>
          </a:r>
          <a:endParaRPr lang="en-US" sz="2800" kern="1200" dirty="0"/>
        </a:p>
      </dsp:txBody>
      <dsp:txXfrm>
        <a:off x="38117" y="1253001"/>
        <a:ext cx="8153366" cy="704594"/>
      </dsp:txXfrm>
    </dsp:sp>
    <dsp:sp modelId="{B00AECF3-5AF5-4C7B-823A-6D8831823200}">
      <dsp:nvSpPr>
        <dsp:cNvPr id="0" name=""/>
        <dsp:cNvSpPr/>
      </dsp:nvSpPr>
      <dsp:spPr>
        <a:xfrm>
          <a:off x="0" y="2105152"/>
          <a:ext cx="8229600" cy="7112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u="sng" kern="1200" dirty="0" smtClean="0"/>
            <a:t>To identify testable items for the application</a:t>
          </a:r>
          <a:endParaRPr lang="en-US" sz="2800" kern="1200" dirty="0"/>
        </a:p>
      </dsp:txBody>
      <dsp:txXfrm>
        <a:off x="34722" y="2139874"/>
        <a:ext cx="8160156" cy="641841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8C4BFD-E995-4780-970C-881E2E374468}">
      <dsp:nvSpPr>
        <dsp:cNvPr id="0" name=""/>
        <dsp:cNvSpPr/>
      </dsp:nvSpPr>
      <dsp:spPr>
        <a:xfrm>
          <a:off x="0" y="299210"/>
          <a:ext cx="8229600" cy="62199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u="sng" kern="1200" dirty="0" smtClean="0"/>
            <a:t>RVFD-Admin</a:t>
          </a:r>
          <a:endParaRPr lang="en-US" sz="2600" kern="1200" dirty="0"/>
        </a:p>
      </dsp:txBody>
      <dsp:txXfrm>
        <a:off x="30363" y="329573"/>
        <a:ext cx="8168874" cy="561266"/>
      </dsp:txXfrm>
    </dsp:sp>
    <dsp:sp modelId="{9397AF0D-8474-4F77-A5DF-A5222075E22D}">
      <dsp:nvSpPr>
        <dsp:cNvPr id="0" name=""/>
        <dsp:cNvSpPr/>
      </dsp:nvSpPr>
      <dsp:spPr>
        <a:xfrm>
          <a:off x="0" y="1105522"/>
          <a:ext cx="8229600" cy="6851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u="sng" kern="1200" dirty="0" smtClean="0"/>
            <a:t>RVFD-Applicant</a:t>
          </a:r>
          <a:endParaRPr lang="en-US" sz="2600" kern="1200" dirty="0"/>
        </a:p>
      </dsp:txBody>
      <dsp:txXfrm>
        <a:off x="33448" y="1138970"/>
        <a:ext cx="8162704" cy="618282"/>
      </dsp:txXfrm>
    </dsp:sp>
    <dsp:sp modelId="{013CA7C3-1A8E-49D0-A344-E8BA37AC6670}">
      <dsp:nvSpPr>
        <dsp:cNvPr id="0" name=""/>
        <dsp:cNvSpPr/>
      </dsp:nvSpPr>
      <dsp:spPr>
        <a:xfrm>
          <a:off x="0" y="1975021"/>
          <a:ext cx="8229600" cy="69756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u="sng" kern="1200" smtClean="0"/>
            <a:t>RVFD-MAC(Members of Admission Committee)</a:t>
          </a:r>
          <a:endParaRPr lang="en-US" sz="2600" kern="1200"/>
        </a:p>
      </dsp:txBody>
      <dsp:txXfrm>
        <a:off x="34052" y="2009073"/>
        <a:ext cx="8161496" cy="629463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B14377-58AA-4860-B69D-BE82F87EE58E}">
      <dsp:nvSpPr>
        <dsp:cNvPr id="0" name=""/>
        <dsp:cNvSpPr/>
      </dsp:nvSpPr>
      <dsp:spPr>
        <a:xfrm>
          <a:off x="0" y="457198"/>
          <a:ext cx="8229600" cy="80563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l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1" u="sng" kern="1200" dirty="0" smtClean="0"/>
            <a:t>Applicant</a:t>
          </a:r>
          <a:endParaRPr lang="en-US" sz="3200" kern="1200" dirty="0"/>
        </a:p>
      </dsp:txBody>
      <dsp:txXfrm>
        <a:off x="39328" y="496526"/>
        <a:ext cx="8150944" cy="726975"/>
      </dsp:txXfrm>
    </dsp:sp>
    <dsp:sp modelId="{AABC295B-39C8-45DE-B20E-FDD4D07F221A}">
      <dsp:nvSpPr>
        <dsp:cNvPr id="0" name=""/>
        <dsp:cNvSpPr/>
      </dsp:nvSpPr>
      <dsp:spPr>
        <a:xfrm>
          <a:off x="0" y="1295399"/>
          <a:ext cx="8229600" cy="14464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1290" tIns="35560" rIns="199136" bIns="35560" numCol="1" spcCol="1270" anchor="t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b="1" kern="1200" dirty="0" smtClean="0"/>
            <a:t>Applicant view program</a:t>
          </a:r>
          <a:endParaRPr lang="en-US" sz="2800" kern="1200" dirty="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b="1" kern="1200" dirty="0" smtClean="0"/>
            <a:t>Applicant apply for Program</a:t>
          </a:r>
          <a:endParaRPr lang="en-US" sz="2800" kern="1200" dirty="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b="1" kern="1200" dirty="0" smtClean="0"/>
            <a:t>Applicant Check Application Status</a:t>
          </a:r>
          <a:endParaRPr lang="en-US" sz="2800" kern="1200" dirty="0"/>
        </a:p>
      </dsp:txBody>
      <dsp:txXfrm>
        <a:off x="0" y="1295399"/>
        <a:ext cx="8229600" cy="1446412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A56BC8-9597-42A6-BD90-01FA0345F0A6}">
      <dsp:nvSpPr>
        <dsp:cNvPr id="0" name=""/>
        <dsp:cNvSpPr/>
      </dsp:nvSpPr>
      <dsp:spPr>
        <a:xfrm>
          <a:off x="0" y="304790"/>
          <a:ext cx="8229600" cy="82688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l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1" u="sng" kern="1200" dirty="0" smtClean="0"/>
            <a:t>Administrator</a:t>
          </a:r>
          <a:endParaRPr lang="en-US" sz="3200" kern="1200" dirty="0"/>
        </a:p>
      </dsp:txBody>
      <dsp:txXfrm>
        <a:off x="40365" y="345155"/>
        <a:ext cx="8148870" cy="746158"/>
      </dsp:txXfrm>
    </dsp:sp>
    <dsp:sp modelId="{02E70BDA-D1C6-4DF7-858B-7E1E6218F474}">
      <dsp:nvSpPr>
        <dsp:cNvPr id="0" name=""/>
        <dsp:cNvSpPr/>
      </dsp:nvSpPr>
      <dsp:spPr>
        <a:xfrm>
          <a:off x="0" y="1142995"/>
          <a:ext cx="8229600" cy="2421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1290" tIns="35560" rIns="199136" bIns="35560" numCol="1" spcCol="1270" anchor="t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b="1" kern="1200" dirty="0" smtClean="0"/>
            <a:t>Admin view program</a:t>
          </a:r>
          <a:endParaRPr lang="en-US" sz="2800" kern="1200" dirty="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b="1" kern="1200" dirty="0" smtClean="0"/>
            <a:t>Admin Add Program</a:t>
          </a:r>
          <a:endParaRPr lang="en-US" sz="2800" kern="1200" dirty="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b="1" kern="1200" dirty="0" smtClean="0"/>
            <a:t>Admin Delete Program</a:t>
          </a:r>
          <a:endParaRPr lang="en-US" sz="2800" kern="1200" dirty="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b="1" kern="1200" dirty="0" smtClean="0"/>
            <a:t>Admin Generating Reports</a:t>
          </a:r>
          <a:endParaRPr lang="en-US" sz="2800" kern="1200" dirty="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b="1" kern="1200" dirty="0" smtClean="0"/>
            <a:t>Admin Update program</a:t>
          </a:r>
          <a:endParaRPr lang="en-US" sz="2800" kern="1200" dirty="0"/>
        </a:p>
      </dsp:txBody>
      <dsp:txXfrm>
        <a:off x="0" y="1142995"/>
        <a:ext cx="8229600" cy="2421900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653F78-D519-4D7D-A0B0-F3995B9A7B12}">
      <dsp:nvSpPr>
        <dsp:cNvPr id="0" name=""/>
        <dsp:cNvSpPr/>
      </dsp:nvSpPr>
      <dsp:spPr>
        <a:xfrm>
          <a:off x="0" y="0"/>
          <a:ext cx="8229600" cy="80431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l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1" u="sng" kern="1200" dirty="0" smtClean="0"/>
            <a:t>MAC </a:t>
          </a:r>
          <a:r>
            <a:rPr lang="en-US" sz="3200" b="1" u="none" kern="1200" dirty="0" smtClean="0"/>
            <a:t>(Members of Admission Committee)</a:t>
          </a:r>
          <a:endParaRPr lang="en-US" sz="3200" u="none" kern="1200" dirty="0"/>
        </a:p>
      </dsp:txBody>
      <dsp:txXfrm>
        <a:off x="39263" y="39263"/>
        <a:ext cx="8151074" cy="725790"/>
      </dsp:txXfrm>
    </dsp:sp>
    <dsp:sp modelId="{99B015E2-6B76-490A-B49C-BD2C12866E7D}">
      <dsp:nvSpPr>
        <dsp:cNvPr id="0" name=""/>
        <dsp:cNvSpPr/>
      </dsp:nvSpPr>
      <dsp:spPr>
        <a:xfrm>
          <a:off x="0" y="838204"/>
          <a:ext cx="8229600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1290" tIns="35560" rIns="199136" bIns="35560" numCol="1" spcCol="1270" anchor="t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b="1" kern="1200" dirty="0" smtClean="0"/>
            <a:t>MAC view program</a:t>
          </a:r>
          <a:endParaRPr lang="en-US" sz="2800" kern="1200" dirty="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b="1" kern="1200" dirty="0" smtClean="0"/>
            <a:t>MAC Update Application Status</a:t>
          </a:r>
          <a:endParaRPr lang="en-US" sz="2800" kern="1200" dirty="0"/>
        </a:p>
      </dsp:txBody>
      <dsp:txXfrm>
        <a:off x="0" y="838204"/>
        <a:ext cx="8229600" cy="1076400"/>
      </dsp:txXfrm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B89038-8B93-4DA7-B43C-17DD1F337AE5}">
      <dsp:nvSpPr>
        <dsp:cNvPr id="0" name=""/>
        <dsp:cNvSpPr/>
      </dsp:nvSpPr>
      <dsp:spPr>
        <a:xfrm>
          <a:off x="0" y="230537"/>
          <a:ext cx="8229600" cy="9659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u="sng" kern="1200" dirty="0" smtClean="0"/>
            <a:t>Test Case Adequacy:  </a:t>
          </a:r>
          <a:r>
            <a:rPr lang="en-US" sz="2100" b="1" kern="1200" dirty="0" smtClean="0"/>
            <a:t>Defines the number of actual test cases created vs estimated test cases at the end of test case preparation phase.</a:t>
          </a:r>
          <a:endParaRPr lang="en-US" sz="2100" kern="1200" dirty="0"/>
        </a:p>
      </dsp:txBody>
      <dsp:txXfrm>
        <a:off x="47152" y="277689"/>
        <a:ext cx="8135296" cy="871604"/>
      </dsp:txXfrm>
    </dsp:sp>
    <dsp:sp modelId="{598971A4-6C5C-4FA0-9D0D-27355ABFE29F}">
      <dsp:nvSpPr>
        <dsp:cNvPr id="0" name=""/>
        <dsp:cNvSpPr/>
      </dsp:nvSpPr>
      <dsp:spPr>
        <a:xfrm>
          <a:off x="0" y="1256925"/>
          <a:ext cx="8229600" cy="9659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u="sng" kern="1200" dirty="0" smtClean="0"/>
            <a:t>Test Case Adequacy </a:t>
          </a:r>
          <a:r>
            <a:rPr lang="en-US" sz="2100" b="1" u="none" kern="1200" dirty="0" smtClean="0"/>
            <a:t>    </a:t>
          </a:r>
          <a:r>
            <a:rPr lang="en-US" sz="2100" b="1" kern="1200" dirty="0" smtClean="0"/>
            <a:t>=              Number of Actual test cases *100</a:t>
          </a:r>
        </a:p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			           Number of Test cases estimated</a:t>
          </a:r>
          <a:endParaRPr lang="en-US" sz="2100" kern="1200" dirty="0"/>
        </a:p>
      </dsp:txBody>
      <dsp:txXfrm>
        <a:off x="47152" y="1304077"/>
        <a:ext cx="8135296" cy="871604"/>
      </dsp:txXfrm>
    </dsp:sp>
    <dsp:sp modelId="{6F267543-363D-4489-B34A-D7CA618252D8}">
      <dsp:nvSpPr>
        <dsp:cNvPr id="0" name=""/>
        <dsp:cNvSpPr/>
      </dsp:nvSpPr>
      <dsp:spPr>
        <a:xfrm>
          <a:off x="0" y="2222834"/>
          <a:ext cx="8229600" cy="347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1290" tIns="26670" rIns="149352" bIns="26670" numCol="1" spcCol="1270" anchor="t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1600" kern="1200" dirty="0"/>
        </a:p>
      </dsp:txBody>
      <dsp:txXfrm>
        <a:off x="0" y="2222834"/>
        <a:ext cx="8229600" cy="347760"/>
      </dsp:txXfrm>
    </dsp:sp>
    <dsp:sp modelId="{DAD234FD-B5A6-4B9E-9A71-83E23F3AD700}">
      <dsp:nvSpPr>
        <dsp:cNvPr id="0" name=""/>
        <dsp:cNvSpPr/>
      </dsp:nvSpPr>
      <dsp:spPr>
        <a:xfrm>
          <a:off x="0" y="2348611"/>
          <a:ext cx="8229600" cy="9659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u="sng" kern="1200" dirty="0" smtClean="0"/>
            <a:t>Test Case Adequacy </a:t>
          </a:r>
          <a:r>
            <a:rPr lang="en-US" sz="2100" b="1" kern="1200" dirty="0" smtClean="0"/>
            <a:t>= 138    =  0.69</a:t>
          </a:r>
        </a:p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		         </a:t>
          </a:r>
          <a:r>
            <a:rPr lang="en-US" sz="2100" b="1" kern="1200" dirty="0" smtClean="0"/>
            <a:t>200</a:t>
          </a:r>
          <a:endParaRPr lang="en-US" sz="2100" b="1" kern="1200" dirty="0"/>
        </a:p>
      </dsp:txBody>
      <dsp:txXfrm>
        <a:off x="47152" y="2395763"/>
        <a:ext cx="8135296" cy="871604"/>
      </dsp:txXfrm>
    </dsp:sp>
    <dsp:sp modelId="{F56238C6-2BC2-483E-BF83-93F1DFFD4537}">
      <dsp:nvSpPr>
        <dsp:cNvPr id="0" name=""/>
        <dsp:cNvSpPr/>
      </dsp:nvSpPr>
      <dsp:spPr>
        <a:xfrm>
          <a:off x="0" y="3536502"/>
          <a:ext cx="8229600" cy="347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1290" tIns="26670" rIns="149352" bIns="26670" numCol="1" spcCol="1270" anchor="t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1600" kern="1200" dirty="0"/>
        </a:p>
      </dsp:txBody>
      <dsp:txXfrm>
        <a:off x="0" y="3536502"/>
        <a:ext cx="8229600" cy="347760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0F0E17-D5A9-46F7-B07B-9B6FDA59FC11}">
      <dsp:nvSpPr>
        <dsp:cNvPr id="0" name=""/>
        <dsp:cNvSpPr/>
      </dsp:nvSpPr>
      <dsp:spPr>
        <a:xfrm>
          <a:off x="0" y="53591"/>
          <a:ext cx="8001000" cy="13837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u="sng" kern="1200" dirty="0" smtClean="0"/>
            <a:t>Test Case Effectiveness:  </a:t>
          </a:r>
          <a:r>
            <a:rPr lang="en-US" sz="2100" b="1" kern="1200" dirty="0" smtClean="0"/>
            <a:t>This Defines the effectiveness of test cases which is measured in number of defects found in testing without using the test cases.</a:t>
          </a:r>
          <a:endParaRPr lang="en-US" sz="2100" kern="1200" dirty="0"/>
        </a:p>
      </dsp:txBody>
      <dsp:txXfrm>
        <a:off x="67547" y="121138"/>
        <a:ext cx="7865906" cy="1248620"/>
      </dsp:txXfrm>
    </dsp:sp>
    <dsp:sp modelId="{A08B92D1-BFDC-4779-B08E-9EA993BEFDF6}">
      <dsp:nvSpPr>
        <dsp:cNvPr id="0" name=""/>
        <dsp:cNvSpPr/>
      </dsp:nvSpPr>
      <dsp:spPr>
        <a:xfrm>
          <a:off x="0" y="1529466"/>
          <a:ext cx="8001000" cy="99865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u="sng" kern="1200" dirty="0" smtClean="0"/>
            <a:t>Test Case Effectiveness </a:t>
          </a:r>
          <a:r>
            <a:rPr lang="en-US" sz="2100" b="1" kern="1200" dirty="0" smtClean="0"/>
            <a:t>= No. of Defects detected using test cases* 100</a:t>
          </a:r>
        </a:p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			Total No. of Defects detected in testing</a:t>
          </a:r>
          <a:endParaRPr lang="en-US" sz="2100" b="1" kern="1200" dirty="0"/>
        </a:p>
      </dsp:txBody>
      <dsp:txXfrm>
        <a:off x="48750" y="1578216"/>
        <a:ext cx="7903500" cy="901155"/>
      </dsp:txXfrm>
    </dsp:sp>
    <dsp:sp modelId="{ABE15F78-E0CD-442F-8A77-F496868BDD42}">
      <dsp:nvSpPr>
        <dsp:cNvPr id="0" name=""/>
        <dsp:cNvSpPr/>
      </dsp:nvSpPr>
      <dsp:spPr>
        <a:xfrm>
          <a:off x="0" y="2528121"/>
          <a:ext cx="8001000" cy="3658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32" tIns="26670" rIns="149352" bIns="26670" numCol="1" spcCol="1270" anchor="t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1600" kern="1200" dirty="0"/>
        </a:p>
      </dsp:txBody>
      <dsp:txXfrm>
        <a:off x="0" y="2528121"/>
        <a:ext cx="8001000" cy="365856"/>
      </dsp:txXfrm>
    </dsp:sp>
    <dsp:sp modelId="{41212E44-6446-4460-8F1E-6F955A1E9712}">
      <dsp:nvSpPr>
        <dsp:cNvPr id="0" name=""/>
        <dsp:cNvSpPr/>
      </dsp:nvSpPr>
      <dsp:spPr>
        <a:xfrm>
          <a:off x="0" y="2444696"/>
          <a:ext cx="8001000" cy="124342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u="sng" kern="1200" dirty="0" smtClean="0"/>
            <a:t>Test Case Efficiency</a:t>
          </a:r>
          <a:r>
            <a:rPr lang="en-US" sz="2100" b="1" kern="1200" dirty="0" smtClean="0"/>
            <a:t> = 7 * 100  =77.77</a:t>
          </a:r>
        </a:p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		             9</a:t>
          </a:r>
        </a:p>
      </dsp:txBody>
      <dsp:txXfrm>
        <a:off x="60699" y="2505395"/>
        <a:ext cx="7879602" cy="11220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93451A-B46F-46F9-A9AB-791AEED6434D}">
      <dsp:nvSpPr>
        <dsp:cNvPr id="0" name=""/>
        <dsp:cNvSpPr/>
      </dsp:nvSpPr>
      <dsp:spPr>
        <a:xfrm>
          <a:off x="0" y="4778"/>
          <a:ext cx="152400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093943_IN</a:t>
          </a:r>
          <a:endParaRPr lang="en-US" sz="1500" kern="1200" dirty="0"/>
        </a:p>
      </dsp:txBody>
      <dsp:txXfrm>
        <a:off x="17563" y="22341"/>
        <a:ext cx="1488874" cy="3246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0D3023-6CA5-4D08-B610-0182689ABA93}">
      <dsp:nvSpPr>
        <dsp:cNvPr id="0" name=""/>
        <dsp:cNvSpPr/>
      </dsp:nvSpPr>
      <dsp:spPr>
        <a:xfrm>
          <a:off x="0" y="4778"/>
          <a:ext cx="152400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093958_IN</a:t>
          </a:r>
          <a:endParaRPr lang="en-US" sz="1500" kern="1200" dirty="0"/>
        </a:p>
      </dsp:txBody>
      <dsp:txXfrm>
        <a:off x="17563" y="22341"/>
        <a:ext cx="1488874" cy="32464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C3E59F-F5BB-4918-A351-641C2B25F62B}">
      <dsp:nvSpPr>
        <dsp:cNvPr id="0" name=""/>
        <dsp:cNvSpPr/>
      </dsp:nvSpPr>
      <dsp:spPr>
        <a:xfrm>
          <a:off x="0" y="4778"/>
          <a:ext cx="152400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093948_IN</a:t>
          </a:r>
          <a:endParaRPr lang="en-US" sz="1500" kern="1200" dirty="0"/>
        </a:p>
      </dsp:txBody>
      <dsp:txXfrm>
        <a:off x="17563" y="22341"/>
        <a:ext cx="1488874" cy="32464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646477-A7FF-46DC-B54C-036026798840}">
      <dsp:nvSpPr>
        <dsp:cNvPr id="0" name=""/>
        <dsp:cNvSpPr/>
      </dsp:nvSpPr>
      <dsp:spPr>
        <a:xfrm>
          <a:off x="0" y="4778"/>
          <a:ext cx="152400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094336_IN</a:t>
          </a:r>
          <a:endParaRPr lang="en-US" sz="1500" kern="1200" dirty="0"/>
        </a:p>
      </dsp:txBody>
      <dsp:txXfrm>
        <a:off x="17563" y="22341"/>
        <a:ext cx="1488874" cy="32464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16B983-7E6D-4A68-8090-3335657EA040}">
      <dsp:nvSpPr>
        <dsp:cNvPr id="0" name=""/>
        <dsp:cNvSpPr/>
      </dsp:nvSpPr>
      <dsp:spPr>
        <a:xfrm>
          <a:off x="0" y="4778"/>
          <a:ext cx="152400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094005_IN</a:t>
          </a:r>
          <a:endParaRPr lang="en-US" sz="1500" kern="1200" dirty="0"/>
        </a:p>
      </dsp:txBody>
      <dsp:txXfrm>
        <a:off x="17563" y="22341"/>
        <a:ext cx="1488874" cy="32464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84FA11-2B69-478A-B4BA-5C6FBD0EC793}">
      <dsp:nvSpPr>
        <dsp:cNvPr id="0" name=""/>
        <dsp:cNvSpPr/>
      </dsp:nvSpPr>
      <dsp:spPr>
        <a:xfrm>
          <a:off x="0" y="7894"/>
          <a:ext cx="1514901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093953_IN</a:t>
          </a:r>
          <a:endParaRPr lang="en-US" sz="1500" kern="1200" dirty="0"/>
        </a:p>
      </dsp:txBody>
      <dsp:txXfrm>
        <a:off x="17563" y="25457"/>
        <a:ext cx="1479775" cy="324648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33D2E7-E28C-45FC-9594-F3E145EBB6DC}">
      <dsp:nvSpPr>
        <dsp:cNvPr id="0" name=""/>
        <dsp:cNvSpPr/>
      </dsp:nvSpPr>
      <dsp:spPr>
        <a:xfrm>
          <a:off x="0" y="4778"/>
          <a:ext cx="1524000" cy="3597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/>
            <a:t>093976_IN</a:t>
          </a:r>
          <a:endParaRPr lang="en-US" sz="1500" kern="1200" dirty="0"/>
        </a:p>
      </dsp:txBody>
      <dsp:txXfrm>
        <a:off x="17563" y="22341"/>
        <a:ext cx="1488874" cy="3246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anuary 27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6.xml"/><Relationship Id="rId2" Type="http://schemas.openxmlformats.org/officeDocument/2006/relationships/diagramData" Target="../diagrams/data26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6.xml"/><Relationship Id="rId5" Type="http://schemas.openxmlformats.org/officeDocument/2006/relationships/diagramColors" Target="../diagrams/colors26.xml"/><Relationship Id="rId4" Type="http://schemas.openxmlformats.org/officeDocument/2006/relationships/diagramQuickStyle" Target="../diagrams/quickStyle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7.xml"/><Relationship Id="rId2" Type="http://schemas.openxmlformats.org/officeDocument/2006/relationships/diagramData" Target="../diagrams/data27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7.xml"/><Relationship Id="rId5" Type="http://schemas.openxmlformats.org/officeDocument/2006/relationships/diagramColors" Target="../diagrams/colors27.xml"/><Relationship Id="rId4" Type="http://schemas.openxmlformats.org/officeDocument/2006/relationships/diagramQuickStyle" Target="../diagrams/quickStyle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iupload:8080/University_dmission_System_JSP/" TargetMode="External"/><Relationship Id="rId2" Type="http://schemas.openxmlformats.org/officeDocument/2006/relationships/hyperlink" Target="http://ilearnuniversity.com/" TargetMode="Externa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8.xml"/><Relationship Id="rId2" Type="http://schemas.openxmlformats.org/officeDocument/2006/relationships/diagramData" Target="../diagrams/data28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8.xml"/><Relationship Id="rId5" Type="http://schemas.openxmlformats.org/officeDocument/2006/relationships/diagramColors" Target="../diagrams/colors28.xml"/><Relationship Id="rId4" Type="http://schemas.openxmlformats.org/officeDocument/2006/relationships/diagramQuickStyle" Target="../diagrams/quickStyle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9.xml"/><Relationship Id="rId2" Type="http://schemas.openxmlformats.org/officeDocument/2006/relationships/diagramData" Target="../diagrams/data29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9.xml"/><Relationship Id="rId5" Type="http://schemas.openxmlformats.org/officeDocument/2006/relationships/diagramColors" Target="../diagrams/colors29.xml"/><Relationship Id="rId4" Type="http://schemas.openxmlformats.org/officeDocument/2006/relationships/diagramQuickStyle" Target="../diagrams/quickStyle2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diagramColors" Target="../diagrams/colors5.xml"/><Relationship Id="rId39" Type="http://schemas.openxmlformats.org/officeDocument/2006/relationships/diagramLayout" Target="../diagrams/layout8.xml"/><Relationship Id="rId21" Type="http://schemas.openxmlformats.org/officeDocument/2006/relationships/diagramColors" Target="../diagrams/colors4.xml"/><Relationship Id="rId34" Type="http://schemas.openxmlformats.org/officeDocument/2006/relationships/diagramLayout" Target="../diagrams/layout7.xml"/><Relationship Id="rId42" Type="http://schemas.microsoft.com/office/2007/relationships/diagramDrawing" Target="../diagrams/drawing8.xml"/><Relationship Id="rId47" Type="http://schemas.microsoft.com/office/2007/relationships/diagramDrawing" Target="../diagrams/drawing9.xml"/><Relationship Id="rId50" Type="http://schemas.openxmlformats.org/officeDocument/2006/relationships/diagramQuickStyle" Target="../diagrams/quickStyle10.xml"/><Relationship Id="rId55" Type="http://schemas.openxmlformats.org/officeDocument/2006/relationships/diagramQuickStyle" Target="../diagrams/quickStyle11.xml"/><Relationship Id="rId63" Type="http://schemas.openxmlformats.org/officeDocument/2006/relationships/diagramData" Target="../diagrams/data13.xml"/><Relationship Id="rId68" Type="http://schemas.openxmlformats.org/officeDocument/2006/relationships/diagramData" Target="../diagrams/data14.xml"/><Relationship Id="rId76" Type="http://schemas.openxmlformats.org/officeDocument/2006/relationships/diagramColors" Target="../diagrams/colors15.xml"/><Relationship Id="rId84" Type="http://schemas.openxmlformats.org/officeDocument/2006/relationships/diagramLayout" Target="../diagrams/layout17.xml"/><Relationship Id="rId89" Type="http://schemas.openxmlformats.org/officeDocument/2006/relationships/diagramLayout" Target="../diagrams/layout18.xml"/><Relationship Id="rId7" Type="http://schemas.microsoft.com/office/2007/relationships/diagramDrawing" Target="../diagrams/drawing1.xml"/><Relationship Id="rId71" Type="http://schemas.openxmlformats.org/officeDocument/2006/relationships/diagramColors" Target="../diagrams/colors14.xml"/><Relationship Id="rId92" Type="http://schemas.microsoft.com/office/2007/relationships/diagramDrawing" Target="../diagrams/drawing18.xml"/><Relationship Id="rId2" Type="http://schemas.openxmlformats.org/officeDocument/2006/relationships/notesSlide" Target="../notesSlides/notesSlide2.xml"/><Relationship Id="rId16" Type="http://schemas.openxmlformats.org/officeDocument/2006/relationships/diagramColors" Target="../diagrams/colors3.xml"/><Relationship Id="rId29" Type="http://schemas.openxmlformats.org/officeDocument/2006/relationships/diagramLayout" Target="../diagrams/layout6.xml"/><Relationship Id="rId11" Type="http://schemas.openxmlformats.org/officeDocument/2006/relationships/diagramColors" Target="../diagrams/colors2.xml"/><Relationship Id="rId24" Type="http://schemas.openxmlformats.org/officeDocument/2006/relationships/diagramLayout" Target="../diagrams/layout5.xml"/><Relationship Id="rId32" Type="http://schemas.microsoft.com/office/2007/relationships/diagramDrawing" Target="../diagrams/drawing6.xml"/><Relationship Id="rId37" Type="http://schemas.microsoft.com/office/2007/relationships/diagramDrawing" Target="../diagrams/drawing7.xml"/><Relationship Id="rId40" Type="http://schemas.openxmlformats.org/officeDocument/2006/relationships/diagramQuickStyle" Target="../diagrams/quickStyle8.xml"/><Relationship Id="rId45" Type="http://schemas.openxmlformats.org/officeDocument/2006/relationships/diagramQuickStyle" Target="../diagrams/quickStyle9.xml"/><Relationship Id="rId53" Type="http://schemas.openxmlformats.org/officeDocument/2006/relationships/diagramData" Target="../diagrams/data11.xml"/><Relationship Id="rId58" Type="http://schemas.openxmlformats.org/officeDocument/2006/relationships/diagramData" Target="../diagrams/data12.xml"/><Relationship Id="rId66" Type="http://schemas.openxmlformats.org/officeDocument/2006/relationships/diagramColors" Target="../diagrams/colors13.xml"/><Relationship Id="rId74" Type="http://schemas.openxmlformats.org/officeDocument/2006/relationships/diagramLayout" Target="../diagrams/layout15.xml"/><Relationship Id="rId79" Type="http://schemas.openxmlformats.org/officeDocument/2006/relationships/diagramLayout" Target="../diagrams/layout16.xml"/><Relationship Id="rId87" Type="http://schemas.microsoft.com/office/2007/relationships/diagramDrawing" Target="../diagrams/drawing17.xml"/><Relationship Id="rId5" Type="http://schemas.openxmlformats.org/officeDocument/2006/relationships/diagramQuickStyle" Target="../diagrams/quickStyle1.xml"/><Relationship Id="rId61" Type="http://schemas.openxmlformats.org/officeDocument/2006/relationships/diagramColors" Target="../diagrams/colors12.xml"/><Relationship Id="rId82" Type="http://schemas.microsoft.com/office/2007/relationships/diagramDrawing" Target="../diagrams/drawing16.xml"/><Relationship Id="rId90" Type="http://schemas.openxmlformats.org/officeDocument/2006/relationships/diagramQuickStyle" Target="../diagrams/quickStyle18.xml"/><Relationship Id="rId19" Type="http://schemas.openxmlformats.org/officeDocument/2006/relationships/diagramLayout" Target="../diagrams/layout4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Relationship Id="rId30" Type="http://schemas.openxmlformats.org/officeDocument/2006/relationships/diagramQuickStyle" Target="../diagrams/quickStyle6.xml"/><Relationship Id="rId35" Type="http://schemas.openxmlformats.org/officeDocument/2006/relationships/diagramQuickStyle" Target="../diagrams/quickStyle7.xml"/><Relationship Id="rId43" Type="http://schemas.openxmlformats.org/officeDocument/2006/relationships/diagramData" Target="../diagrams/data9.xml"/><Relationship Id="rId48" Type="http://schemas.openxmlformats.org/officeDocument/2006/relationships/diagramData" Target="../diagrams/data10.xml"/><Relationship Id="rId56" Type="http://schemas.openxmlformats.org/officeDocument/2006/relationships/diagramColors" Target="../diagrams/colors11.xml"/><Relationship Id="rId64" Type="http://schemas.openxmlformats.org/officeDocument/2006/relationships/diagramLayout" Target="../diagrams/layout13.xml"/><Relationship Id="rId69" Type="http://schemas.openxmlformats.org/officeDocument/2006/relationships/diagramLayout" Target="../diagrams/layout14.xml"/><Relationship Id="rId77" Type="http://schemas.microsoft.com/office/2007/relationships/diagramDrawing" Target="../diagrams/drawing15.xml"/><Relationship Id="rId8" Type="http://schemas.openxmlformats.org/officeDocument/2006/relationships/diagramData" Target="../diagrams/data2.xml"/><Relationship Id="rId51" Type="http://schemas.openxmlformats.org/officeDocument/2006/relationships/diagramColors" Target="../diagrams/colors10.xml"/><Relationship Id="rId72" Type="http://schemas.microsoft.com/office/2007/relationships/diagramDrawing" Target="../diagrams/drawing14.xml"/><Relationship Id="rId80" Type="http://schemas.openxmlformats.org/officeDocument/2006/relationships/diagramQuickStyle" Target="../diagrams/quickStyle16.xml"/><Relationship Id="rId85" Type="http://schemas.openxmlformats.org/officeDocument/2006/relationships/diagramQuickStyle" Target="../diagrams/quickStyle17.xml"/><Relationship Id="rId3" Type="http://schemas.openxmlformats.org/officeDocument/2006/relationships/diagramData" Target="../diagrams/data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33" Type="http://schemas.openxmlformats.org/officeDocument/2006/relationships/diagramData" Target="../diagrams/data7.xml"/><Relationship Id="rId38" Type="http://schemas.openxmlformats.org/officeDocument/2006/relationships/diagramData" Target="../diagrams/data8.xml"/><Relationship Id="rId46" Type="http://schemas.openxmlformats.org/officeDocument/2006/relationships/diagramColors" Target="../diagrams/colors9.xml"/><Relationship Id="rId59" Type="http://schemas.openxmlformats.org/officeDocument/2006/relationships/diagramLayout" Target="../diagrams/layout12.xml"/><Relationship Id="rId67" Type="http://schemas.microsoft.com/office/2007/relationships/diagramDrawing" Target="../diagrams/drawing13.xml"/><Relationship Id="rId20" Type="http://schemas.openxmlformats.org/officeDocument/2006/relationships/diagramQuickStyle" Target="../diagrams/quickStyle4.xml"/><Relationship Id="rId41" Type="http://schemas.openxmlformats.org/officeDocument/2006/relationships/diagramColors" Target="../diagrams/colors8.xml"/><Relationship Id="rId54" Type="http://schemas.openxmlformats.org/officeDocument/2006/relationships/diagramLayout" Target="../diagrams/layout11.xml"/><Relationship Id="rId62" Type="http://schemas.microsoft.com/office/2007/relationships/diagramDrawing" Target="../diagrams/drawing12.xml"/><Relationship Id="rId70" Type="http://schemas.openxmlformats.org/officeDocument/2006/relationships/diagramQuickStyle" Target="../diagrams/quickStyle14.xml"/><Relationship Id="rId75" Type="http://schemas.openxmlformats.org/officeDocument/2006/relationships/diagramQuickStyle" Target="../diagrams/quickStyle15.xml"/><Relationship Id="rId83" Type="http://schemas.openxmlformats.org/officeDocument/2006/relationships/diagramData" Target="../diagrams/data17.xml"/><Relationship Id="rId88" Type="http://schemas.openxmlformats.org/officeDocument/2006/relationships/diagramData" Target="../diagrams/data18.xml"/><Relationship Id="rId91" Type="http://schemas.openxmlformats.org/officeDocument/2006/relationships/diagramColors" Target="../diagrams/colors18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diagramData" Target="../diagrams/data6.xml"/><Relationship Id="rId36" Type="http://schemas.openxmlformats.org/officeDocument/2006/relationships/diagramColors" Target="../diagrams/colors7.xml"/><Relationship Id="rId49" Type="http://schemas.openxmlformats.org/officeDocument/2006/relationships/diagramLayout" Target="../diagrams/layout10.xml"/><Relationship Id="rId57" Type="http://schemas.microsoft.com/office/2007/relationships/diagramDrawing" Target="../diagrams/drawing11.xml"/><Relationship Id="rId10" Type="http://schemas.openxmlformats.org/officeDocument/2006/relationships/diagramQuickStyle" Target="../diagrams/quickStyle2.xml"/><Relationship Id="rId31" Type="http://schemas.openxmlformats.org/officeDocument/2006/relationships/diagramColors" Target="../diagrams/colors6.xml"/><Relationship Id="rId44" Type="http://schemas.openxmlformats.org/officeDocument/2006/relationships/diagramLayout" Target="../diagrams/layout9.xml"/><Relationship Id="rId52" Type="http://schemas.microsoft.com/office/2007/relationships/diagramDrawing" Target="../diagrams/drawing10.xml"/><Relationship Id="rId60" Type="http://schemas.openxmlformats.org/officeDocument/2006/relationships/diagramQuickStyle" Target="../diagrams/quickStyle12.xml"/><Relationship Id="rId65" Type="http://schemas.openxmlformats.org/officeDocument/2006/relationships/diagramQuickStyle" Target="../diagrams/quickStyle13.xml"/><Relationship Id="rId73" Type="http://schemas.openxmlformats.org/officeDocument/2006/relationships/diagramData" Target="../diagrams/data15.xml"/><Relationship Id="rId78" Type="http://schemas.openxmlformats.org/officeDocument/2006/relationships/diagramData" Target="../diagrams/data16.xml"/><Relationship Id="rId81" Type="http://schemas.openxmlformats.org/officeDocument/2006/relationships/diagramColors" Target="../diagrams/colors16.xml"/><Relationship Id="rId86" Type="http://schemas.openxmlformats.org/officeDocument/2006/relationships/diagramColors" Target="../diagrams/colors17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0.xml"/><Relationship Id="rId5" Type="http://schemas.openxmlformats.org/officeDocument/2006/relationships/diagramColors" Target="../diagrams/colors20.xml"/><Relationship Id="rId4" Type="http://schemas.openxmlformats.org/officeDocument/2006/relationships/diagramQuickStyle" Target="../diagrams/quickStyle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1.xml"/><Relationship Id="rId2" Type="http://schemas.openxmlformats.org/officeDocument/2006/relationships/diagramData" Target="../diagrams/data2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1.xml"/><Relationship Id="rId5" Type="http://schemas.openxmlformats.org/officeDocument/2006/relationships/diagramColors" Target="../diagrams/colors21.xml"/><Relationship Id="rId4" Type="http://schemas.openxmlformats.org/officeDocument/2006/relationships/diagramQuickStyle" Target="../diagrams/quickStyle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2.xml"/><Relationship Id="rId7" Type="http://schemas.microsoft.com/office/2007/relationships/diagramDrawing" Target="../diagrams/drawing2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2.xml"/><Relationship Id="rId5" Type="http://schemas.openxmlformats.org/officeDocument/2006/relationships/diagramQuickStyle" Target="../diagrams/quickStyle22.xml"/><Relationship Id="rId4" Type="http://schemas.openxmlformats.org/officeDocument/2006/relationships/diagramLayout" Target="../diagrams/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3.xml"/><Relationship Id="rId2" Type="http://schemas.openxmlformats.org/officeDocument/2006/relationships/diagramData" Target="../diagrams/data2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3.xml"/><Relationship Id="rId5" Type="http://schemas.openxmlformats.org/officeDocument/2006/relationships/diagramColors" Target="../diagrams/colors23.xml"/><Relationship Id="rId4" Type="http://schemas.openxmlformats.org/officeDocument/2006/relationships/diagramQuickStyle" Target="../diagrams/quickStyle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4.xml"/><Relationship Id="rId7" Type="http://schemas.microsoft.com/office/2007/relationships/diagramDrawing" Target="../diagrams/drawing2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4.xml"/><Relationship Id="rId5" Type="http://schemas.openxmlformats.org/officeDocument/2006/relationships/diagramQuickStyle" Target="../diagrams/quickStyle24.xml"/><Relationship Id="rId4" Type="http://schemas.openxmlformats.org/officeDocument/2006/relationships/diagramLayout" Target="../diagrams/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5.xml"/><Relationship Id="rId2" Type="http://schemas.openxmlformats.org/officeDocument/2006/relationships/diagramData" Target="../diagrams/data25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5.xml"/><Relationship Id="rId5" Type="http://schemas.openxmlformats.org/officeDocument/2006/relationships/diagramColors" Target="../diagrams/colors25.xml"/><Relationship Id="rId4" Type="http://schemas.openxmlformats.org/officeDocument/2006/relationships/diagramQuickStyle" Target="../diagrams/quickStyle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37305" y="635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University Admission System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Use cases </a:t>
            </a:r>
            <a:endParaRPr lang="en-US" sz="3200" b="1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47191117"/>
              </p:ext>
            </p:extLst>
          </p:nvPr>
        </p:nvGraphicFramePr>
        <p:xfrm>
          <a:off x="457200" y="1295400"/>
          <a:ext cx="8229600" cy="48307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0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62617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76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Use cases </a:t>
            </a:r>
            <a:endParaRPr lang="en-US" sz="3200" b="1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9413672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1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62617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991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FDR</a:t>
            </a:r>
            <a:endParaRPr lang="en-US" sz="3200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2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u="sng" dirty="0" smtClean="0"/>
              <a:t>Defect Report</a:t>
            </a:r>
            <a:endParaRPr lang="en-US" sz="2000" u="sng" dirty="0"/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u="sng" dirty="0" smtClean="0"/>
              <a:t>Defect Report</a:t>
            </a:r>
            <a:endParaRPr lang="en-US" sz="2000" u="sng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b="1" dirty="0" smtClean="0"/>
              <a:t>Application Link</a:t>
            </a:r>
            <a:endParaRPr lang="en-US" sz="32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>
                <a:hlinkClick r:id="rId2"/>
              </a:rPr>
              <a:t>http://</a:t>
            </a:r>
            <a:r>
              <a:rPr lang="en-US" sz="2400" dirty="0" smtClean="0">
                <a:hlinkClick r:id="rId2"/>
              </a:rPr>
              <a:t>ilearnUniversity.com</a:t>
            </a:r>
            <a:endParaRPr lang="en-US" sz="2400" dirty="0">
              <a:hlinkClick r:id="rId3"/>
            </a:endParaRPr>
          </a:p>
          <a:p>
            <a:endParaRPr lang="en-US" dirty="0"/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cs typeface="Times New Roman" pitchFamily="18" charset="0"/>
              </a:rPr>
              <a:t>Test Case Adequacy </a:t>
            </a:r>
            <a:endParaRPr lang="en-US" sz="3200" b="1" dirty="0">
              <a:cs typeface="Times New Roman" pitchFamily="18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97863463"/>
              </p:ext>
            </p:extLst>
          </p:nvPr>
        </p:nvGraphicFramePr>
        <p:xfrm>
          <a:off x="381000" y="1295400"/>
          <a:ext cx="8229600" cy="411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3810000" y="3048000"/>
            <a:ext cx="39624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2895600" y="4100945"/>
            <a:ext cx="5334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cs typeface="Times New Roman" pitchFamily="18" charset="0"/>
              </a:rPr>
              <a:t>Test Case Effectiveness</a:t>
            </a:r>
            <a:endParaRPr lang="en-US" sz="3200" b="1" dirty="0">
              <a:cs typeface="Times New Roman" pitchFamily="18" charset="0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990437137"/>
              </p:ext>
            </p:extLst>
          </p:nvPr>
        </p:nvGraphicFramePr>
        <p:xfrm>
          <a:off x="571500" y="1295400"/>
          <a:ext cx="8001000" cy="419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3810000" y="4495800"/>
            <a:ext cx="76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505200" y="3352800"/>
            <a:ext cx="457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048000" y="4343400"/>
            <a:ext cx="9144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Traceability Matrix</a:t>
            </a:r>
            <a:endParaRPr lang="en-US" sz="3200" b="1" dirty="0"/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9912148"/>
              </p:ext>
            </p:extLst>
          </p:nvPr>
        </p:nvGraphicFramePr>
        <p:xfrm>
          <a:off x="457200" y="1600200"/>
          <a:ext cx="8229600" cy="3865245"/>
        </p:xfrm>
        <a:graphic>
          <a:graphicData uri="http://schemas.openxmlformats.org/drawingml/2006/table">
            <a:tbl>
              <a:tblPr/>
              <a:tblGrid>
                <a:gridCol w="2622619"/>
                <a:gridCol w="2765810"/>
                <a:gridCol w="2841171"/>
              </a:tblGrid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en-US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st Case ID</a:t>
                      </a:r>
                    </a:p>
                  </a:txBody>
                  <a:tcPr marL="11304" marR="1130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DR ID</a:t>
                      </a:r>
                    </a:p>
                  </a:txBody>
                  <a:tcPr marL="11304" marR="1130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 ID</a:t>
                      </a:r>
                    </a:p>
                  </a:txBody>
                  <a:tcPr marL="11304" marR="1130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_UNIVERSITY_017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F_UNIVERSITY_001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_ApplyProgram_06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_UNIVERSITY_030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F_UNIVERSITY_002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_ApplyProgram_01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_UNIVERSITY_121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F_UNIVERSITY_003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_ViewProgram_001     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_UNIVERSITY_126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F_UNIVERSITY_004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_ApplyProgram_07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_UNIVERSITY_129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F_UNIVERSITY_005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_UpdateApplicationStatus_03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_UNIVERSITY_123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F_UNIVERSITY_006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_UpdateApplicationStatus_01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_UNIVERSITY_124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F_UNIVERSITY_007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_UpdateApplicationStatus_04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_UNIVERSITY_075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F_UNIVERSITY_008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 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C_UNIVERSITY_050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F_UNIVERSITY_009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 </a:t>
                      </a:r>
                    </a:p>
                  </a:txBody>
                  <a:tcPr marL="11304" marR="11304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8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200" y="-7367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/>
              <a:t>TEAM MEMBERS</a:t>
            </a:r>
            <a:endParaRPr lang="en-IN" sz="3200" b="1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26" name="Diagram 25"/>
          <p:cNvGraphicFramePr/>
          <p:nvPr>
            <p:extLst>
              <p:ext uri="{D42A27DB-BD31-4B8C-83A1-F6EECF244321}">
                <p14:modId xmlns:p14="http://schemas.microsoft.com/office/powerpoint/2010/main" val="2911031690"/>
              </p:ext>
            </p:extLst>
          </p:nvPr>
        </p:nvGraphicFramePr>
        <p:xfrm>
          <a:off x="2423627" y="1299306"/>
          <a:ext cx="1515470" cy="5992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6" name="Diagram 35"/>
          <p:cNvGraphicFramePr/>
          <p:nvPr>
            <p:extLst>
              <p:ext uri="{D42A27DB-BD31-4B8C-83A1-F6EECF244321}">
                <p14:modId xmlns:p14="http://schemas.microsoft.com/office/powerpoint/2010/main" val="534471068"/>
              </p:ext>
            </p:extLst>
          </p:nvPr>
        </p:nvGraphicFramePr>
        <p:xfrm>
          <a:off x="4288801" y="1247929"/>
          <a:ext cx="2661312" cy="454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7" name="Diagram 26"/>
          <p:cNvGraphicFramePr/>
          <p:nvPr>
            <p:extLst>
              <p:ext uri="{D42A27DB-BD31-4B8C-83A1-F6EECF244321}">
                <p14:modId xmlns:p14="http://schemas.microsoft.com/office/powerpoint/2010/main" val="2552261367"/>
              </p:ext>
            </p:extLst>
          </p:nvPr>
        </p:nvGraphicFramePr>
        <p:xfrm>
          <a:off x="2415097" y="1882340"/>
          <a:ext cx="152400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28" name="Diagram 27"/>
          <p:cNvGraphicFramePr/>
          <p:nvPr>
            <p:extLst>
              <p:ext uri="{D42A27DB-BD31-4B8C-83A1-F6EECF244321}">
                <p14:modId xmlns:p14="http://schemas.microsoft.com/office/powerpoint/2010/main" val="3603734893"/>
              </p:ext>
            </p:extLst>
          </p:nvPr>
        </p:nvGraphicFramePr>
        <p:xfrm>
          <a:off x="2423627" y="2325521"/>
          <a:ext cx="152400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29" name="Diagram 28"/>
          <p:cNvGraphicFramePr/>
          <p:nvPr>
            <p:extLst>
              <p:ext uri="{D42A27DB-BD31-4B8C-83A1-F6EECF244321}">
                <p14:modId xmlns:p14="http://schemas.microsoft.com/office/powerpoint/2010/main" val="1569930660"/>
              </p:ext>
            </p:extLst>
          </p:nvPr>
        </p:nvGraphicFramePr>
        <p:xfrm>
          <a:off x="2423627" y="2779420"/>
          <a:ext cx="152400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30" name="Diagram 29"/>
          <p:cNvGraphicFramePr/>
          <p:nvPr>
            <p:extLst>
              <p:ext uri="{D42A27DB-BD31-4B8C-83A1-F6EECF244321}">
                <p14:modId xmlns:p14="http://schemas.microsoft.com/office/powerpoint/2010/main" val="3899228081"/>
              </p:ext>
            </p:extLst>
          </p:nvPr>
        </p:nvGraphicFramePr>
        <p:xfrm>
          <a:off x="2417940" y="3232899"/>
          <a:ext cx="152400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31" name="Diagram 30"/>
          <p:cNvGraphicFramePr/>
          <p:nvPr>
            <p:extLst>
              <p:ext uri="{D42A27DB-BD31-4B8C-83A1-F6EECF244321}">
                <p14:modId xmlns:p14="http://schemas.microsoft.com/office/powerpoint/2010/main" val="4217599445"/>
              </p:ext>
            </p:extLst>
          </p:nvPr>
        </p:nvGraphicFramePr>
        <p:xfrm>
          <a:off x="2431588" y="3687704"/>
          <a:ext cx="152400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32" name="Diagram 31"/>
          <p:cNvGraphicFramePr/>
          <p:nvPr>
            <p:extLst>
              <p:ext uri="{D42A27DB-BD31-4B8C-83A1-F6EECF244321}">
                <p14:modId xmlns:p14="http://schemas.microsoft.com/office/powerpoint/2010/main" val="150663052"/>
              </p:ext>
            </p:extLst>
          </p:nvPr>
        </p:nvGraphicFramePr>
        <p:xfrm>
          <a:off x="2442963" y="4148918"/>
          <a:ext cx="1514901" cy="375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33" name="Diagram 32"/>
          <p:cNvGraphicFramePr/>
          <p:nvPr>
            <p:extLst>
              <p:ext uri="{D42A27DB-BD31-4B8C-83A1-F6EECF244321}">
                <p14:modId xmlns:p14="http://schemas.microsoft.com/office/powerpoint/2010/main" val="2091146325"/>
              </p:ext>
            </p:extLst>
          </p:nvPr>
        </p:nvGraphicFramePr>
        <p:xfrm>
          <a:off x="2442391" y="4620017"/>
          <a:ext cx="152400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graphicFrame>
        <p:nvGraphicFramePr>
          <p:cNvPr id="34" name="Diagram 33"/>
          <p:cNvGraphicFramePr/>
          <p:nvPr>
            <p:extLst>
              <p:ext uri="{D42A27DB-BD31-4B8C-83A1-F6EECF244321}">
                <p14:modId xmlns:p14="http://schemas.microsoft.com/office/powerpoint/2010/main" val="1665638353"/>
              </p:ext>
            </p:extLst>
          </p:nvPr>
        </p:nvGraphicFramePr>
        <p:xfrm>
          <a:off x="2450920" y="5078104"/>
          <a:ext cx="1524000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8" r:lo="rId49" r:qs="rId50" r:cs="rId51"/>
          </a:graphicData>
        </a:graphic>
      </p:graphicFrame>
      <p:graphicFrame>
        <p:nvGraphicFramePr>
          <p:cNvPr id="37" name="Diagram 36"/>
          <p:cNvGraphicFramePr/>
          <p:nvPr>
            <p:extLst>
              <p:ext uri="{D42A27DB-BD31-4B8C-83A1-F6EECF244321}">
                <p14:modId xmlns:p14="http://schemas.microsoft.com/office/powerpoint/2010/main" val="3283011622"/>
              </p:ext>
            </p:extLst>
          </p:nvPr>
        </p:nvGraphicFramePr>
        <p:xfrm>
          <a:off x="4294486" y="1873994"/>
          <a:ext cx="2630606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3" r:lo="rId54" r:qs="rId55" r:cs="rId56"/>
          </a:graphicData>
        </a:graphic>
      </p:graphicFrame>
      <p:graphicFrame>
        <p:nvGraphicFramePr>
          <p:cNvPr id="38" name="Diagram 37"/>
          <p:cNvGraphicFramePr/>
          <p:nvPr>
            <p:extLst>
              <p:ext uri="{D42A27DB-BD31-4B8C-83A1-F6EECF244321}">
                <p14:modId xmlns:p14="http://schemas.microsoft.com/office/powerpoint/2010/main" val="3866213364"/>
              </p:ext>
            </p:extLst>
          </p:nvPr>
        </p:nvGraphicFramePr>
        <p:xfrm>
          <a:off x="4300174" y="2292539"/>
          <a:ext cx="2630606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8" r:lo="rId59" r:qs="rId60" r:cs="rId61"/>
          </a:graphicData>
        </a:graphic>
      </p:graphicFrame>
      <p:graphicFrame>
        <p:nvGraphicFramePr>
          <p:cNvPr id="35" name="Diagram 34"/>
          <p:cNvGraphicFramePr/>
          <p:nvPr>
            <p:extLst>
              <p:ext uri="{D42A27DB-BD31-4B8C-83A1-F6EECF244321}">
                <p14:modId xmlns:p14="http://schemas.microsoft.com/office/powerpoint/2010/main" val="2771046247"/>
              </p:ext>
            </p:extLst>
          </p:nvPr>
        </p:nvGraphicFramePr>
        <p:xfrm>
          <a:off x="4300174" y="2746438"/>
          <a:ext cx="2630606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3" r:lo="rId64" r:qs="rId65" r:cs="rId66"/>
          </a:graphicData>
        </a:graphic>
      </p:graphicFrame>
      <p:graphicFrame>
        <p:nvGraphicFramePr>
          <p:cNvPr id="39" name="Diagram 38"/>
          <p:cNvGraphicFramePr/>
          <p:nvPr>
            <p:extLst>
              <p:ext uri="{D42A27DB-BD31-4B8C-83A1-F6EECF244321}">
                <p14:modId xmlns:p14="http://schemas.microsoft.com/office/powerpoint/2010/main" val="2423669155"/>
              </p:ext>
            </p:extLst>
          </p:nvPr>
        </p:nvGraphicFramePr>
        <p:xfrm>
          <a:off x="4294486" y="3199917"/>
          <a:ext cx="2636293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8" r:lo="rId69" r:qs="rId70" r:cs="rId71"/>
          </a:graphicData>
        </a:graphic>
      </p:graphicFrame>
      <p:graphicFrame>
        <p:nvGraphicFramePr>
          <p:cNvPr id="40" name="Diagram 39"/>
          <p:cNvGraphicFramePr/>
          <p:nvPr>
            <p:extLst>
              <p:ext uri="{D42A27DB-BD31-4B8C-83A1-F6EECF244321}">
                <p14:modId xmlns:p14="http://schemas.microsoft.com/office/powerpoint/2010/main" val="2745267218"/>
              </p:ext>
            </p:extLst>
          </p:nvPr>
        </p:nvGraphicFramePr>
        <p:xfrm>
          <a:off x="4308135" y="3654722"/>
          <a:ext cx="2622644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3" r:lo="rId74" r:qs="rId75" r:cs="rId76"/>
          </a:graphicData>
        </a:graphic>
      </p:graphicFrame>
      <p:graphicFrame>
        <p:nvGraphicFramePr>
          <p:cNvPr id="41" name="Diagram 40"/>
          <p:cNvGraphicFramePr/>
          <p:nvPr>
            <p:extLst>
              <p:ext uri="{D42A27DB-BD31-4B8C-83A1-F6EECF244321}">
                <p14:modId xmlns:p14="http://schemas.microsoft.com/office/powerpoint/2010/main" val="1428198057"/>
              </p:ext>
            </p:extLst>
          </p:nvPr>
        </p:nvGraphicFramePr>
        <p:xfrm>
          <a:off x="4319510" y="4115936"/>
          <a:ext cx="2611269" cy="375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8" r:lo="rId79" r:qs="rId80" r:cs="rId81"/>
          </a:graphicData>
        </a:graphic>
      </p:graphicFrame>
      <p:graphicFrame>
        <p:nvGraphicFramePr>
          <p:cNvPr id="42" name="Diagram 41"/>
          <p:cNvGraphicFramePr/>
          <p:nvPr>
            <p:extLst>
              <p:ext uri="{D42A27DB-BD31-4B8C-83A1-F6EECF244321}">
                <p14:modId xmlns:p14="http://schemas.microsoft.com/office/powerpoint/2010/main" val="864304457"/>
              </p:ext>
            </p:extLst>
          </p:nvPr>
        </p:nvGraphicFramePr>
        <p:xfrm>
          <a:off x="4318937" y="4587035"/>
          <a:ext cx="2611841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3" r:lo="rId84" r:qs="rId85" r:cs="rId86"/>
          </a:graphicData>
        </a:graphic>
      </p:graphicFrame>
      <p:graphicFrame>
        <p:nvGraphicFramePr>
          <p:cNvPr id="43" name="Diagram 42"/>
          <p:cNvGraphicFramePr/>
          <p:nvPr>
            <p:extLst>
              <p:ext uri="{D42A27DB-BD31-4B8C-83A1-F6EECF244321}">
                <p14:modId xmlns:p14="http://schemas.microsoft.com/office/powerpoint/2010/main" val="1288007769"/>
              </p:ext>
            </p:extLst>
          </p:nvPr>
        </p:nvGraphicFramePr>
        <p:xfrm>
          <a:off x="4327466" y="5045122"/>
          <a:ext cx="2603311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8" r:lo="rId89" r:qs="rId90" r:cs="rId91"/>
          </a:graphicData>
        </a:graphic>
      </p:graphicFrame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OVERVIEW OF THE PROJECT</a:t>
            </a:r>
            <a:endParaRPr lang="en-US" sz="3200" b="1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1371802"/>
              </p:ext>
            </p:extLst>
          </p:nvPr>
        </p:nvGraphicFramePr>
        <p:xfrm>
          <a:off x="457200" y="1066801"/>
          <a:ext cx="8229600" cy="31241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OVERVIEW OF THE PROJECT</a:t>
            </a:r>
            <a:endParaRPr lang="en-US" sz="3200" b="1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80099015"/>
              </p:ext>
            </p:extLst>
          </p:nvPr>
        </p:nvGraphicFramePr>
        <p:xfrm>
          <a:off x="457200" y="1066801"/>
          <a:ext cx="8229600" cy="3352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870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Actors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10540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400" dirty="0"/>
          </a:p>
          <a:p>
            <a:endParaRPr lang="en-US" sz="2400" dirty="0" smtClean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693983151"/>
              </p:ext>
            </p:extLst>
          </p:nvPr>
        </p:nvGraphicFramePr>
        <p:xfrm>
          <a:off x="914400" y="1447800"/>
          <a:ext cx="73914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Test Cases</a:t>
            </a:r>
            <a:endParaRPr lang="en-US" sz="3200" b="1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72804185"/>
              </p:ext>
            </p:extLst>
          </p:nvPr>
        </p:nvGraphicFramePr>
        <p:xfrm>
          <a:off x="457200" y="1295400"/>
          <a:ext cx="8229600" cy="32003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Requirement Itemization</a:t>
            </a:r>
            <a:endParaRPr lang="en-US" sz="3200" b="1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3683496"/>
              </p:ext>
            </p:extLst>
          </p:nvPr>
        </p:nvGraphicFramePr>
        <p:xfrm>
          <a:off x="457200" y="1219201"/>
          <a:ext cx="8229600" cy="28193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b="1" dirty="0">
                <a:solidFill>
                  <a:schemeClr val="tx2">
                    <a:lumMod val="50000"/>
                  </a:schemeClr>
                </a:solidFill>
              </a:rPr>
              <a:t>Requirements Validation And Functional Decomposition</a:t>
            </a:r>
            <a:endParaRPr lang="en-US" sz="32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8030000"/>
              </p:ext>
            </p:extLst>
          </p:nvPr>
        </p:nvGraphicFramePr>
        <p:xfrm>
          <a:off x="457200" y="1219200"/>
          <a:ext cx="8229600" cy="2971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Use cases </a:t>
            </a:r>
            <a:endParaRPr lang="en-US" sz="3200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9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62617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4104485"/>
              </p:ext>
            </p:extLst>
          </p:nvPr>
        </p:nvGraphicFramePr>
        <p:xfrm>
          <a:off x="457200" y="1143000"/>
          <a:ext cx="8229600" cy="49831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93</TotalTime>
  <Words>455</Words>
  <Application>Microsoft Office PowerPoint</Application>
  <PresentationFormat>On-screen Show (4:3)</PresentationFormat>
  <Paragraphs>139</Paragraphs>
  <Slides>18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ＭＳ Ｐゴシック</vt:lpstr>
      <vt:lpstr>Arial</vt:lpstr>
      <vt:lpstr>Calibri</vt:lpstr>
      <vt:lpstr>Candara</vt:lpstr>
      <vt:lpstr>Century Gothic</vt:lpstr>
      <vt:lpstr>Courier New</vt:lpstr>
      <vt:lpstr>Palatino Linotype</vt:lpstr>
      <vt:lpstr>Times New Roman</vt:lpstr>
      <vt:lpstr>Trebuchet MS</vt:lpstr>
      <vt:lpstr>Wingdings</vt:lpstr>
      <vt:lpstr>Executive</vt:lpstr>
      <vt:lpstr>Office Theme</vt:lpstr>
      <vt:lpstr>PowerPoint Presentation</vt:lpstr>
      <vt:lpstr>TEAM MEMBERS</vt:lpstr>
      <vt:lpstr>OVERVIEW OF THE PROJECT</vt:lpstr>
      <vt:lpstr>OVERVIEW OF THE PROJECT</vt:lpstr>
      <vt:lpstr>Actors</vt:lpstr>
      <vt:lpstr>Test Cases</vt:lpstr>
      <vt:lpstr>Requirement Itemization</vt:lpstr>
      <vt:lpstr>Requirements Validation And Functional Decomposition</vt:lpstr>
      <vt:lpstr>Use cases </vt:lpstr>
      <vt:lpstr>Use cases </vt:lpstr>
      <vt:lpstr>Use cases </vt:lpstr>
      <vt:lpstr>DFDR</vt:lpstr>
      <vt:lpstr>Defects Found</vt:lpstr>
      <vt:lpstr>Application Link</vt:lpstr>
      <vt:lpstr>Test Case Adequacy </vt:lpstr>
      <vt:lpstr>Test Case Effectivenes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Yadav, Ajaykumar</cp:lastModifiedBy>
  <cp:revision>153</cp:revision>
  <dcterms:created xsi:type="dcterms:W3CDTF">2015-08-27T08:52:20Z</dcterms:created>
  <dcterms:modified xsi:type="dcterms:W3CDTF">2018-01-27T09:07:39Z</dcterms:modified>
</cp:coreProperties>
</file>